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2" r:id="rId1"/>
  </p:sldMasterIdLst>
  <p:sldIdLst>
    <p:sldId id="2134805039" r:id="rId2"/>
    <p:sldId id="2134805040" r:id="rId3"/>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showGuides="1">
      <p:cViewPr varScale="1">
        <p:scale>
          <a:sx n="113" d="100"/>
          <a:sy n="113" d="100"/>
        </p:scale>
        <p:origin x="510" y="10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slide" Target="slides/slide2.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7" Type="http://schemas.openxmlformats.org/officeDocument/2006/relationships/image" Target="../media/image10.sv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7" Type="http://schemas.openxmlformats.org/officeDocument/2006/relationships/image" Target="../media/image10.svg"/><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7"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7" Type="http://schemas.openxmlformats.org/officeDocument/2006/relationships/image" Target="../media/image10.svg"/><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9.png"/><Relationship Id="rId5" Type="http://schemas.openxmlformats.org/officeDocument/2006/relationships/image" Target="../media/image12.jpe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7" Type="http://schemas.openxmlformats.org/officeDocument/2006/relationships/image" Target="../media/image10.sv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9.png"/><Relationship Id="rId5" Type="http://schemas.openxmlformats.org/officeDocument/2006/relationships/image" Target="../media/image12.jpe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folie">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762123-A025-4D74-4EAD-B98BCC05F347}"/>
              </a:ext>
            </a:extLst>
          </p:cNvPr>
          <p:cNvGraphicFramePr>
            <a:graphicFrameLocks noChangeAspect="1"/>
          </p:cNvGraphicFramePr>
          <p:nvPr>
            <p:custDataLst>
              <p:tags r:id="rId1"/>
            </p:custDataLst>
            <p:extLst>
              <p:ext uri="{D42A27DB-BD31-4B8C-83A1-F6EECF244321}">
                <p14:modId xmlns:p14="http://schemas.microsoft.com/office/powerpoint/2010/main" val="2990212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3B762123-A025-4D74-4EAD-B98BCC05F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C57AD32-B33F-D71D-71C0-1BF11E3C22E4}"/>
              </a:ext>
            </a:extLst>
          </p:cNvPr>
          <p:cNvSpPr>
            <a:spLocks noGrp="1"/>
          </p:cNvSpPr>
          <p:nvPr>
            <p:ph type="ctrTitle"/>
          </p:nvPr>
        </p:nvSpPr>
        <p:spPr bwMode="gray">
          <a:xfrm>
            <a:off x="5161920" y="1773239"/>
            <a:ext cx="6695118" cy="1354217"/>
          </a:xfrm>
        </p:spPr>
        <p:txBody>
          <a:bodyPr vert="horz" wrap="square" anchor="b">
            <a:noAutofit/>
          </a:bodyPr>
          <a:lstStyle>
            <a:lvl1pPr algn="l" rtl="0">
              <a:defRPr sz="4400">
                <a:solidFill>
                  <a:schemeClr val="accent1"/>
                </a:solidFill>
              </a:defRPr>
            </a:lvl1pPr>
          </a:lstStyle>
          <a:p>
            <a:r>
              <a:rPr lang="de-DE"/>
              <a:t>Mastertitelformat bearbeiten</a:t>
            </a:r>
            <a:endParaRPr lang="de-DE" dirty="0"/>
          </a:p>
        </p:txBody>
      </p:sp>
      <p:sp>
        <p:nvSpPr>
          <p:cNvPr id="28" name="Textplatzhalter 27">
            <a:extLst>
              <a:ext uri="{FF2B5EF4-FFF2-40B4-BE49-F238E27FC236}">
                <a16:creationId xmlns:a16="http://schemas.microsoft.com/office/drawing/2014/main" id="{3426A492-33E3-F15D-C5C7-0F00867414D9}"/>
              </a:ext>
            </a:extLst>
          </p:cNvPr>
          <p:cNvSpPr>
            <a:spLocks noGrp="1"/>
          </p:cNvSpPr>
          <p:nvPr>
            <p:ph type="body" sz="quarter" idx="10" hasCustomPrompt="1"/>
          </p:nvPr>
        </p:nvSpPr>
        <p:spPr bwMode="gray">
          <a:xfrm>
            <a:off x="5161919" y="3270995"/>
            <a:ext cx="6695122" cy="369332"/>
          </a:xfrm>
          <a:noFill/>
        </p:spPr>
        <p:txBody>
          <a:bodyPr wrap="square" lIns="0" tIns="0" rIns="0" bIns="0" anchor="t">
            <a:noAutofit/>
          </a:bodyPr>
          <a:lstStyle>
            <a:lvl1pPr rtl="0">
              <a:defRPr sz="2400" b="0">
                <a:solidFill>
                  <a:schemeClr val="tx1"/>
                </a:solidFill>
              </a:defRPr>
            </a:lvl1pPr>
          </a:lstStyle>
          <a:p>
            <a:pPr lvl="0"/>
            <a:r>
              <a:rPr lang="de-DE" dirty="0" err="1"/>
              <a:t>Subtitle</a:t>
            </a:r>
            <a:r>
              <a:rPr lang="de-DE" dirty="0"/>
              <a:t> einfügen</a:t>
            </a:r>
          </a:p>
        </p:txBody>
      </p:sp>
      <p:sp>
        <p:nvSpPr>
          <p:cNvPr id="115" name="Bildplatzhalter 114" descr="Bild füllt 1/3 der Folie aus, rechts Titel und Untertitel, Bild ist änderbar.">
            <a:extLst>
              <a:ext uri="{FF2B5EF4-FFF2-40B4-BE49-F238E27FC236}">
                <a16:creationId xmlns:a16="http://schemas.microsoft.com/office/drawing/2014/main" id="{EC806E61-62AD-15C1-A1F0-CD9432EC1249}"/>
              </a:ext>
              <a:ext uri="{C183D7F6-B498-43B3-948B-1728B52AA6E4}">
                <adec:decorative xmlns:adec="http://schemas.microsoft.com/office/drawing/2017/decorative" val="0"/>
              </a:ext>
            </a:extLst>
          </p:cNvPr>
          <p:cNvSpPr>
            <a:spLocks noGrp="1"/>
          </p:cNvSpPr>
          <p:nvPr>
            <p:ph type="pic" sz="quarter" idx="11"/>
          </p:nvPr>
        </p:nvSpPr>
        <p:spPr bwMode="gray">
          <a:xfrm>
            <a:off x="1" y="0"/>
            <a:ext cx="4730111" cy="6858000"/>
          </a:xfrm>
          <a:custGeom>
            <a:avLst/>
            <a:gdLst>
              <a:gd name="connsiteX0" fmla="*/ 4729203 w 4730111"/>
              <a:gd name="connsiteY0" fmla="*/ 2672511 h 6858000"/>
              <a:gd name="connsiteX1" fmla="*/ 4730111 w 4730111"/>
              <a:gd name="connsiteY1" fmla="*/ 2672557 h 6858000"/>
              <a:gd name="connsiteX2" fmla="*/ 4730111 w 4730111"/>
              <a:gd name="connsiteY2" fmla="*/ 5415665 h 6858000"/>
              <a:gd name="connsiteX3" fmla="*/ 4729203 w 4730111"/>
              <a:gd name="connsiteY3" fmla="*/ 5415711 h 6858000"/>
              <a:gd name="connsiteX4" fmla="*/ 3357603 w 4730111"/>
              <a:gd name="connsiteY4" fmla="*/ 4044111 h 6858000"/>
              <a:gd name="connsiteX5" fmla="*/ 4729203 w 4730111"/>
              <a:gd name="connsiteY5" fmla="*/ 2672511 h 6858000"/>
              <a:gd name="connsiteX6" fmla="*/ 0 w 4730111"/>
              <a:gd name="connsiteY6" fmla="*/ 0 h 6858000"/>
              <a:gd name="connsiteX7" fmla="*/ 4730111 w 4730111"/>
              <a:gd name="connsiteY7" fmla="*/ 0 h 6858000"/>
              <a:gd name="connsiteX8" fmla="*/ 4730111 w 4730111"/>
              <a:gd name="connsiteY8" fmla="*/ 2595445 h 6858000"/>
              <a:gd name="connsiteX9" fmla="*/ 4729203 w 4730111"/>
              <a:gd name="connsiteY9" fmla="*/ 2595399 h 6858000"/>
              <a:gd name="connsiteX10" fmla="*/ 3280491 w 4730111"/>
              <a:gd name="connsiteY10" fmla="*/ 4044111 h 6858000"/>
              <a:gd name="connsiteX11" fmla="*/ 4729203 w 4730111"/>
              <a:gd name="connsiteY11" fmla="*/ 5492823 h 6858000"/>
              <a:gd name="connsiteX12" fmla="*/ 4730111 w 4730111"/>
              <a:gd name="connsiteY12" fmla="*/ 5492777 h 6858000"/>
              <a:gd name="connsiteX13" fmla="*/ 4730111 w 4730111"/>
              <a:gd name="connsiteY13" fmla="*/ 6858000 h 6858000"/>
              <a:gd name="connsiteX14" fmla="*/ 0 w 4730111"/>
              <a:gd name="connsiteY1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30111" h="6858000">
                <a:moveTo>
                  <a:pt x="4729203" y="2672511"/>
                </a:moveTo>
                <a:lnTo>
                  <a:pt x="4730111" y="2672557"/>
                </a:lnTo>
                <a:lnTo>
                  <a:pt x="4730111" y="5415665"/>
                </a:lnTo>
                <a:lnTo>
                  <a:pt x="4729203" y="5415711"/>
                </a:lnTo>
                <a:cubicBezTo>
                  <a:pt x="3971689" y="5415711"/>
                  <a:pt x="3357603" y="4801625"/>
                  <a:pt x="3357603" y="4044111"/>
                </a:cubicBezTo>
                <a:cubicBezTo>
                  <a:pt x="3357603" y="3286597"/>
                  <a:pt x="3971689" y="2672511"/>
                  <a:pt x="4729203" y="2672511"/>
                </a:cubicBezTo>
                <a:close/>
                <a:moveTo>
                  <a:pt x="0" y="0"/>
                </a:moveTo>
                <a:lnTo>
                  <a:pt x="4730111" y="0"/>
                </a:lnTo>
                <a:lnTo>
                  <a:pt x="4730111" y="2595445"/>
                </a:lnTo>
                <a:lnTo>
                  <a:pt x="4729203" y="2595399"/>
                </a:lnTo>
                <a:cubicBezTo>
                  <a:pt x="3929101" y="2595399"/>
                  <a:pt x="3280491" y="3244009"/>
                  <a:pt x="3280491" y="4044111"/>
                </a:cubicBezTo>
                <a:cubicBezTo>
                  <a:pt x="3280491" y="4844213"/>
                  <a:pt x="3929101" y="5492823"/>
                  <a:pt x="4729203" y="5492823"/>
                </a:cubicBezTo>
                <a:lnTo>
                  <a:pt x="4730111" y="5492777"/>
                </a:lnTo>
                <a:lnTo>
                  <a:pt x="4730111" y="6858000"/>
                </a:lnTo>
                <a:lnTo>
                  <a:pt x="0" y="6858000"/>
                </a:lnTo>
                <a:close/>
              </a:path>
            </a:pathLst>
          </a:custGeom>
          <a:solidFill>
            <a:schemeClr val="bg2"/>
          </a:solidFill>
        </p:spPr>
        <p:txBody>
          <a:bodyPr wrap="square">
            <a:noAutofit/>
          </a:bodyPr>
          <a:lstStyle/>
          <a:p>
            <a:r>
              <a:rPr lang="de-DE"/>
              <a:t>Bild durch Klicken auf Symbol hinzufügen</a:t>
            </a:r>
            <a:endParaRPr lang="de-DE" dirty="0"/>
          </a:p>
        </p:txBody>
      </p:sp>
      <p:grpSp>
        <p:nvGrpSpPr>
          <p:cNvPr id="53" name="Gruppieren 52">
            <a:extLst>
              <a:ext uri="{FF2B5EF4-FFF2-40B4-BE49-F238E27FC236}">
                <a16:creationId xmlns:a16="http://schemas.microsoft.com/office/drawing/2014/main" id="{85C1E315-C0D4-8B7B-87F8-FE0E3BE95C3A}"/>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54" name="Gerader Verbinder 53">
              <a:extLst>
                <a:ext uri="{FF2B5EF4-FFF2-40B4-BE49-F238E27FC236}">
                  <a16:creationId xmlns:a16="http://schemas.microsoft.com/office/drawing/2014/main" id="{0D2EE9B8-FCB5-399E-F125-5AFBAEDFBA21}"/>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CF643A00-ED75-68F1-DACD-28F2385EAC60}"/>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4" name="Gruppieren 63">
            <a:extLst>
              <a:ext uri="{FF2B5EF4-FFF2-40B4-BE49-F238E27FC236}">
                <a16:creationId xmlns:a16="http://schemas.microsoft.com/office/drawing/2014/main" id="{07468542-F8CC-4294-5B3D-C3EDAB94CCCD}"/>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65" name="Gerader Verbinder 64">
              <a:extLst>
                <a:ext uri="{FF2B5EF4-FFF2-40B4-BE49-F238E27FC236}">
                  <a16:creationId xmlns:a16="http://schemas.microsoft.com/office/drawing/2014/main" id="{2BA97CC8-699F-8396-7CF0-85B9A2F7D786}"/>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AFA303A7-B579-0788-374F-CBCD519146E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38" name="Freihandform: Form 37">
            <a:extLst>
              <a:ext uri="{FF2B5EF4-FFF2-40B4-BE49-F238E27FC236}">
                <a16:creationId xmlns:a16="http://schemas.microsoft.com/office/drawing/2014/main" id="{39D4AD47-F725-9804-EA20-2F299922C3B1}"/>
              </a:ext>
              <a:ext uri="{C183D7F6-B498-43B3-948B-1728B52AA6E4}">
                <adec:decorative xmlns:adec="http://schemas.microsoft.com/office/drawing/2017/decorative" val="1"/>
              </a:ext>
            </a:extLst>
          </p:cNvPr>
          <p:cNvSpPr>
            <a:spLocks/>
          </p:cNvSpPr>
          <p:nvPr/>
        </p:nvSpPr>
        <p:spPr bwMode="gray">
          <a:xfrm>
            <a:off x="4730111" y="4038601"/>
            <a:ext cx="1447804" cy="1454177"/>
          </a:xfrm>
          <a:custGeom>
            <a:avLst/>
            <a:gdLst>
              <a:gd name="connsiteX0" fmla="*/ 1370414 w 1447804"/>
              <a:gd name="connsiteY0" fmla="*/ 0 h 1454177"/>
              <a:gd name="connsiteX1" fmla="*/ 1447526 w 1447804"/>
              <a:gd name="connsiteY1" fmla="*/ 0 h 1454177"/>
              <a:gd name="connsiteX2" fmla="*/ 1447804 w 1447804"/>
              <a:gd name="connsiteY2" fmla="*/ 5511 h 1454177"/>
              <a:gd name="connsiteX3" fmla="*/ 147215 w 1447804"/>
              <a:gd name="connsiteY3" fmla="*/ 1446744 h 1454177"/>
              <a:gd name="connsiteX4" fmla="*/ 0 w 1447804"/>
              <a:gd name="connsiteY4" fmla="*/ 1454177 h 1454177"/>
              <a:gd name="connsiteX5" fmla="*/ 0 w 1447804"/>
              <a:gd name="connsiteY5" fmla="*/ 1377065 h 1454177"/>
              <a:gd name="connsiteX6" fmla="*/ 139330 w 1447804"/>
              <a:gd name="connsiteY6" fmla="*/ 1370030 h 1454177"/>
              <a:gd name="connsiteX7" fmla="*/ 1370692 w 1447804"/>
              <a:gd name="connsiteY7" fmla="*/ 5511 h 1454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804" h="1454177">
                <a:moveTo>
                  <a:pt x="1370414" y="0"/>
                </a:moveTo>
                <a:lnTo>
                  <a:pt x="1447526" y="0"/>
                </a:lnTo>
                <a:lnTo>
                  <a:pt x="1447804" y="5511"/>
                </a:lnTo>
                <a:cubicBezTo>
                  <a:pt x="1447804" y="755607"/>
                  <a:pt x="877737" y="1372555"/>
                  <a:pt x="147215" y="1446744"/>
                </a:cubicBezTo>
                <a:lnTo>
                  <a:pt x="0" y="1454177"/>
                </a:lnTo>
                <a:lnTo>
                  <a:pt x="0" y="1377065"/>
                </a:lnTo>
                <a:lnTo>
                  <a:pt x="139330" y="1370030"/>
                </a:lnTo>
                <a:cubicBezTo>
                  <a:pt x="830968" y="1299790"/>
                  <a:pt x="1370692" y="715681"/>
                  <a:pt x="1370692" y="551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grpSp>
        <p:nvGrpSpPr>
          <p:cNvPr id="43" name="Gruppieren 42">
            <a:extLst>
              <a:ext uri="{FF2B5EF4-FFF2-40B4-BE49-F238E27FC236}">
                <a16:creationId xmlns:a16="http://schemas.microsoft.com/office/drawing/2014/main" id="{2265DFCC-F233-A485-88E8-2C892CB04940}"/>
              </a:ext>
              <a:ext uri="{C183D7F6-B498-43B3-948B-1728B52AA6E4}">
                <adec:decorative xmlns:adec="http://schemas.microsoft.com/office/drawing/2017/decorative" val="1"/>
              </a:ext>
            </a:extLst>
          </p:cNvPr>
          <p:cNvGrpSpPr>
            <a:grpSpLocks/>
          </p:cNvGrpSpPr>
          <p:nvPr/>
        </p:nvGrpSpPr>
        <p:grpSpPr bwMode="gray">
          <a:xfrm>
            <a:off x="9768114" y="497078"/>
            <a:ext cx="1915180" cy="598005"/>
            <a:chOff x="5324475" y="3186112"/>
            <a:chExt cx="1546859" cy="483775"/>
          </a:xfrm>
        </p:grpSpPr>
        <p:sp>
          <p:nvSpPr>
            <p:cNvPr id="44" name="Freihandform: Form 43">
              <a:extLst>
                <a:ext uri="{FF2B5EF4-FFF2-40B4-BE49-F238E27FC236}">
                  <a16:creationId xmlns:a16="http://schemas.microsoft.com/office/drawing/2014/main" id="{EBB9B7B0-B16F-358F-7D80-BA0C13D16C55}"/>
                </a:ext>
              </a:extLst>
            </p:cNvPr>
            <p:cNvSpPr/>
            <p:nvPr/>
          </p:nvSpPr>
          <p:spPr bwMode="gray">
            <a:xfrm>
              <a:off x="5324475" y="3397471"/>
              <a:ext cx="161163" cy="160972"/>
            </a:xfrm>
            <a:custGeom>
              <a:avLst/>
              <a:gdLst>
                <a:gd name="connsiteX0" fmla="*/ 0 w 161163"/>
                <a:gd name="connsiteY0" fmla="*/ 80581 h 160972"/>
                <a:gd name="connsiteX1" fmla="*/ 80582 w 161163"/>
                <a:gd name="connsiteY1" fmla="*/ 0 h 160972"/>
                <a:gd name="connsiteX2" fmla="*/ 161163 w 161163"/>
                <a:gd name="connsiteY2" fmla="*/ 80486 h 160972"/>
                <a:gd name="connsiteX3" fmla="*/ 80582 w 161163"/>
                <a:gd name="connsiteY3" fmla="*/ 160973 h 160972"/>
                <a:gd name="connsiteX4" fmla="*/ 0 w 161163"/>
                <a:gd name="connsiteY4" fmla="*/ 80581 h 160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163" h="160972">
                  <a:moveTo>
                    <a:pt x="0" y="80581"/>
                  </a:moveTo>
                  <a:cubicBezTo>
                    <a:pt x="0" y="36100"/>
                    <a:pt x="36100" y="0"/>
                    <a:pt x="80582" y="0"/>
                  </a:cubicBezTo>
                  <a:cubicBezTo>
                    <a:pt x="125063" y="0"/>
                    <a:pt x="161163" y="36100"/>
                    <a:pt x="161163" y="80486"/>
                  </a:cubicBezTo>
                  <a:cubicBezTo>
                    <a:pt x="161163" y="124873"/>
                    <a:pt x="125063" y="160973"/>
                    <a:pt x="80582" y="160973"/>
                  </a:cubicBezTo>
                  <a:cubicBezTo>
                    <a:pt x="36100" y="160973"/>
                    <a:pt x="0" y="124968"/>
                    <a:pt x="0" y="80581"/>
                  </a:cubicBezTo>
                </a:path>
              </a:pathLst>
            </a:custGeom>
            <a:solidFill>
              <a:schemeClr val="accent1"/>
            </a:solidFill>
            <a:ln w="9525" cap="flat">
              <a:noFill/>
              <a:prstDash val="solid"/>
              <a:miter/>
            </a:ln>
          </p:spPr>
          <p:txBody>
            <a:bodyPr rtlCol="0" anchor="ctr"/>
            <a:lstStyle/>
            <a:p>
              <a:endParaRPr lang="de-DE">
                <a:latin typeface="Carnac Light" panose="02000503000000020004" pitchFamily="2" charset="77"/>
              </a:endParaRPr>
            </a:p>
          </p:txBody>
        </p:sp>
        <p:sp>
          <p:nvSpPr>
            <p:cNvPr id="45" name="Freihandform: Form 44">
              <a:extLst>
                <a:ext uri="{FF2B5EF4-FFF2-40B4-BE49-F238E27FC236}">
                  <a16:creationId xmlns:a16="http://schemas.microsoft.com/office/drawing/2014/main" id="{C923EA93-60A8-78D4-7BE9-D8846D0AC10F}"/>
                </a:ext>
              </a:extLst>
            </p:cNvPr>
            <p:cNvSpPr/>
            <p:nvPr/>
          </p:nvSpPr>
          <p:spPr bwMode="gray">
            <a:xfrm>
              <a:off x="5537454" y="3186112"/>
              <a:ext cx="1333880" cy="483775"/>
            </a:xfrm>
            <a:custGeom>
              <a:avLst/>
              <a:gdLst>
                <a:gd name="connsiteX0" fmla="*/ 1127855 w 1333880"/>
                <a:gd name="connsiteY0" fmla="*/ 56388 h 483775"/>
                <a:gd name="connsiteX1" fmla="*/ 1039367 w 1333880"/>
                <a:gd name="connsiteY1" fmla="*/ 116396 h 483775"/>
                <a:gd name="connsiteX2" fmla="*/ 1039367 w 1333880"/>
                <a:gd name="connsiteY2" fmla="*/ 182404 h 483775"/>
                <a:gd name="connsiteX3" fmla="*/ 1039367 w 1333880"/>
                <a:gd name="connsiteY3" fmla="*/ 262604 h 483775"/>
                <a:gd name="connsiteX4" fmla="*/ 1124807 w 1333880"/>
                <a:gd name="connsiteY4" fmla="*/ 313658 h 483775"/>
                <a:gd name="connsiteX5" fmla="*/ 1266539 w 1333880"/>
                <a:gd name="connsiteY5" fmla="*/ 313658 h 483775"/>
                <a:gd name="connsiteX6" fmla="*/ 1266634 w 1333880"/>
                <a:gd name="connsiteY6" fmla="*/ 313754 h 483775"/>
                <a:gd name="connsiteX7" fmla="*/ 1266634 w 1333880"/>
                <a:gd name="connsiteY7" fmla="*/ 56388 h 483775"/>
                <a:gd name="connsiteX8" fmla="*/ 1127855 w 1333880"/>
                <a:gd name="connsiteY8" fmla="*/ 56388 h 483775"/>
                <a:gd name="connsiteX9" fmla="*/ 1104233 w 1333880"/>
                <a:gd name="connsiteY9" fmla="*/ 0 h 483775"/>
                <a:gd name="connsiteX10" fmla="*/ 1104328 w 1333880"/>
                <a:gd name="connsiteY10" fmla="*/ 0 h 483775"/>
                <a:gd name="connsiteX11" fmla="*/ 1333880 w 1333880"/>
                <a:gd name="connsiteY11" fmla="*/ 0 h 483775"/>
                <a:gd name="connsiteX12" fmla="*/ 1333880 w 1333880"/>
                <a:gd name="connsiteY12" fmla="*/ 403098 h 483775"/>
                <a:gd name="connsiteX13" fmla="*/ 1250727 w 1333880"/>
                <a:gd name="connsiteY13" fmla="*/ 483775 h 483775"/>
                <a:gd name="connsiteX14" fmla="*/ 1017841 w 1333880"/>
                <a:gd name="connsiteY14" fmla="*/ 483775 h 483775"/>
                <a:gd name="connsiteX15" fmla="*/ 1017841 w 1333880"/>
                <a:gd name="connsiteY15" fmla="*/ 424529 h 483775"/>
                <a:gd name="connsiteX16" fmla="*/ 1229105 w 1333880"/>
                <a:gd name="connsiteY16" fmla="*/ 424529 h 483775"/>
                <a:gd name="connsiteX17" fmla="*/ 1266539 w 1333880"/>
                <a:gd name="connsiteY17" fmla="*/ 384429 h 483775"/>
                <a:gd name="connsiteX18" fmla="*/ 1266539 w 1333880"/>
                <a:gd name="connsiteY18" fmla="*/ 370142 h 483775"/>
                <a:gd name="connsiteX19" fmla="*/ 1104423 w 1333880"/>
                <a:gd name="connsiteY19" fmla="*/ 370142 h 483775"/>
                <a:gd name="connsiteX20" fmla="*/ 1007173 w 1333880"/>
                <a:gd name="connsiteY20" fmla="*/ 350901 h 483775"/>
                <a:gd name="connsiteX21" fmla="*/ 970216 w 1333880"/>
                <a:gd name="connsiteY21" fmla="*/ 251079 h 483775"/>
                <a:gd name="connsiteX22" fmla="*/ 970216 w 1333880"/>
                <a:gd name="connsiteY22" fmla="*/ 117443 h 483775"/>
                <a:gd name="connsiteX23" fmla="*/ 1005077 w 1333880"/>
                <a:gd name="connsiteY23" fmla="*/ 22765 h 483775"/>
                <a:gd name="connsiteX24" fmla="*/ 1104233 w 1333880"/>
                <a:gd name="connsiteY24" fmla="*/ 0 h 483775"/>
                <a:gd name="connsiteX25" fmla="*/ 655033 w 1333880"/>
                <a:gd name="connsiteY25" fmla="*/ 0 h 483775"/>
                <a:gd name="connsiteX26" fmla="*/ 915923 w 1333880"/>
                <a:gd name="connsiteY26" fmla="*/ 0 h 483775"/>
                <a:gd name="connsiteX27" fmla="*/ 915923 w 1333880"/>
                <a:gd name="connsiteY27" fmla="*/ 56293 h 483775"/>
                <a:gd name="connsiteX28" fmla="*/ 678751 w 1333880"/>
                <a:gd name="connsiteY28" fmla="*/ 56293 h 483775"/>
                <a:gd name="connsiteX29" fmla="*/ 627411 w 1333880"/>
                <a:gd name="connsiteY29" fmla="*/ 103823 h 483775"/>
                <a:gd name="connsiteX30" fmla="*/ 671226 w 1333880"/>
                <a:gd name="connsiteY30" fmla="*/ 153162 h 483775"/>
                <a:gd name="connsiteX31" fmla="*/ 844867 w 1333880"/>
                <a:gd name="connsiteY31" fmla="*/ 153162 h 483775"/>
                <a:gd name="connsiteX32" fmla="*/ 928591 w 1333880"/>
                <a:gd name="connsiteY32" fmla="*/ 264986 h 483775"/>
                <a:gd name="connsiteX33" fmla="*/ 840581 w 1333880"/>
                <a:gd name="connsiteY33" fmla="*/ 369951 h 483775"/>
                <a:gd name="connsiteX34" fmla="*/ 566260 w 1333880"/>
                <a:gd name="connsiteY34" fmla="*/ 369951 h 483775"/>
                <a:gd name="connsiteX35" fmla="*/ 566260 w 1333880"/>
                <a:gd name="connsiteY35" fmla="*/ 313563 h 483775"/>
                <a:gd name="connsiteX36" fmla="*/ 812387 w 1333880"/>
                <a:gd name="connsiteY36" fmla="*/ 313563 h 483775"/>
                <a:gd name="connsiteX37" fmla="*/ 860393 w 1333880"/>
                <a:gd name="connsiteY37" fmla="*/ 264509 h 483775"/>
                <a:gd name="connsiteX38" fmla="*/ 811148 w 1333880"/>
                <a:gd name="connsiteY38" fmla="*/ 209455 h 483775"/>
                <a:gd name="connsiteX39" fmla="*/ 650366 w 1333880"/>
                <a:gd name="connsiteY39" fmla="*/ 209455 h 483775"/>
                <a:gd name="connsiteX40" fmla="*/ 559974 w 1333880"/>
                <a:gd name="connsiteY40" fmla="*/ 102680 h 483775"/>
                <a:gd name="connsiteX41" fmla="*/ 655033 w 1333880"/>
                <a:gd name="connsiteY41" fmla="*/ 0 h 483775"/>
                <a:gd name="connsiteX42" fmla="*/ 0 w 1333880"/>
                <a:gd name="connsiteY42" fmla="*/ 0 h 483775"/>
                <a:gd name="connsiteX43" fmla="*/ 426911 w 1333880"/>
                <a:gd name="connsiteY43" fmla="*/ 0 h 483775"/>
                <a:gd name="connsiteX44" fmla="*/ 519684 w 1333880"/>
                <a:gd name="connsiteY44" fmla="*/ 103632 h 483775"/>
                <a:gd name="connsiteX45" fmla="*/ 519684 w 1333880"/>
                <a:gd name="connsiteY45" fmla="*/ 370046 h 483775"/>
                <a:gd name="connsiteX46" fmla="*/ 452057 w 1333880"/>
                <a:gd name="connsiteY46" fmla="*/ 370046 h 483775"/>
                <a:gd name="connsiteX47" fmla="*/ 452057 w 1333880"/>
                <a:gd name="connsiteY47" fmla="*/ 122396 h 483775"/>
                <a:gd name="connsiteX48" fmla="*/ 392811 w 1333880"/>
                <a:gd name="connsiteY48" fmla="*/ 56293 h 483775"/>
                <a:gd name="connsiteX49" fmla="*/ 289941 w 1333880"/>
                <a:gd name="connsiteY49" fmla="*/ 56293 h 483775"/>
                <a:gd name="connsiteX50" fmla="*/ 289941 w 1333880"/>
                <a:gd name="connsiteY50" fmla="*/ 370046 h 483775"/>
                <a:gd name="connsiteX51" fmla="*/ 222218 w 1333880"/>
                <a:gd name="connsiteY51" fmla="*/ 370046 h 483775"/>
                <a:gd name="connsiteX52" fmla="*/ 222218 w 1333880"/>
                <a:gd name="connsiteY52" fmla="*/ 56293 h 483775"/>
                <a:gd name="connsiteX53" fmla="*/ 67532 w 1333880"/>
                <a:gd name="connsiteY53" fmla="*/ 56293 h 483775"/>
                <a:gd name="connsiteX54" fmla="*/ 67532 w 1333880"/>
                <a:gd name="connsiteY54" fmla="*/ 370046 h 483775"/>
                <a:gd name="connsiteX55" fmla="*/ 0 w 1333880"/>
                <a:gd name="connsiteY55" fmla="*/ 370046 h 48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333880" h="483775">
                  <a:moveTo>
                    <a:pt x="1127855" y="56388"/>
                  </a:moveTo>
                  <a:cubicBezTo>
                    <a:pt x="1058513" y="54769"/>
                    <a:pt x="1041654" y="70961"/>
                    <a:pt x="1039367" y="116396"/>
                  </a:cubicBezTo>
                  <a:cubicBezTo>
                    <a:pt x="1039082" y="121444"/>
                    <a:pt x="1039558" y="133160"/>
                    <a:pt x="1039367" y="182404"/>
                  </a:cubicBezTo>
                  <a:cubicBezTo>
                    <a:pt x="1039177" y="240411"/>
                    <a:pt x="1039367" y="260318"/>
                    <a:pt x="1039367" y="262604"/>
                  </a:cubicBezTo>
                  <a:cubicBezTo>
                    <a:pt x="1040415" y="316801"/>
                    <a:pt x="1082897" y="313944"/>
                    <a:pt x="1124807" y="313658"/>
                  </a:cubicBezTo>
                  <a:lnTo>
                    <a:pt x="1266539" y="313658"/>
                  </a:lnTo>
                  <a:lnTo>
                    <a:pt x="1266634" y="313754"/>
                  </a:lnTo>
                  <a:lnTo>
                    <a:pt x="1266634" y="56388"/>
                  </a:lnTo>
                  <a:cubicBezTo>
                    <a:pt x="1266634" y="56388"/>
                    <a:pt x="1131950" y="56483"/>
                    <a:pt x="1127855" y="56388"/>
                  </a:cubicBezTo>
                  <a:close/>
                  <a:moveTo>
                    <a:pt x="1104233" y="0"/>
                  </a:moveTo>
                  <a:lnTo>
                    <a:pt x="1104328" y="0"/>
                  </a:lnTo>
                  <a:lnTo>
                    <a:pt x="1333880" y="0"/>
                  </a:lnTo>
                  <a:lnTo>
                    <a:pt x="1333880" y="403098"/>
                  </a:lnTo>
                  <a:cubicBezTo>
                    <a:pt x="1333880" y="455867"/>
                    <a:pt x="1313497" y="483775"/>
                    <a:pt x="1250727" y="483775"/>
                  </a:cubicBezTo>
                  <a:lnTo>
                    <a:pt x="1017841" y="483775"/>
                  </a:lnTo>
                  <a:lnTo>
                    <a:pt x="1017841" y="424529"/>
                  </a:lnTo>
                  <a:lnTo>
                    <a:pt x="1229105" y="424529"/>
                  </a:lnTo>
                  <a:cubicBezTo>
                    <a:pt x="1261109" y="424529"/>
                    <a:pt x="1266539" y="412337"/>
                    <a:pt x="1266539" y="384429"/>
                  </a:cubicBezTo>
                  <a:cubicBezTo>
                    <a:pt x="1266539" y="381476"/>
                    <a:pt x="1266539" y="370142"/>
                    <a:pt x="1266539" y="370142"/>
                  </a:cubicBezTo>
                  <a:lnTo>
                    <a:pt x="1104423" y="370142"/>
                  </a:lnTo>
                  <a:cubicBezTo>
                    <a:pt x="1040511" y="370142"/>
                    <a:pt x="1019746" y="359855"/>
                    <a:pt x="1007173" y="350901"/>
                  </a:cubicBezTo>
                  <a:cubicBezTo>
                    <a:pt x="988504" y="335185"/>
                    <a:pt x="970216" y="316801"/>
                    <a:pt x="970216" y="251079"/>
                  </a:cubicBezTo>
                  <a:lnTo>
                    <a:pt x="970216" y="117443"/>
                  </a:lnTo>
                  <a:cubicBezTo>
                    <a:pt x="970502" y="55340"/>
                    <a:pt x="987075" y="37148"/>
                    <a:pt x="1005077" y="22765"/>
                  </a:cubicBezTo>
                  <a:cubicBezTo>
                    <a:pt x="1021556" y="9620"/>
                    <a:pt x="1044035" y="0"/>
                    <a:pt x="1104233" y="0"/>
                  </a:cubicBezTo>
                  <a:close/>
                  <a:moveTo>
                    <a:pt x="655033" y="0"/>
                  </a:moveTo>
                  <a:lnTo>
                    <a:pt x="915923" y="0"/>
                  </a:lnTo>
                  <a:lnTo>
                    <a:pt x="915923" y="56293"/>
                  </a:lnTo>
                  <a:lnTo>
                    <a:pt x="678751" y="56293"/>
                  </a:lnTo>
                  <a:cubicBezTo>
                    <a:pt x="631793" y="56293"/>
                    <a:pt x="627411" y="88392"/>
                    <a:pt x="627411" y="103823"/>
                  </a:cubicBezTo>
                  <a:cubicBezTo>
                    <a:pt x="627411" y="123539"/>
                    <a:pt x="627411" y="153162"/>
                    <a:pt x="671226" y="153162"/>
                  </a:cubicBezTo>
                  <a:lnTo>
                    <a:pt x="844867" y="153162"/>
                  </a:lnTo>
                  <a:cubicBezTo>
                    <a:pt x="903350" y="153162"/>
                    <a:pt x="928591" y="187738"/>
                    <a:pt x="928591" y="264986"/>
                  </a:cubicBezTo>
                  <a:cubicBezTo>
                    <a:pt x="928591" y="329756"/>
                    <a:pt x="908970" y="369951"/>
                    <a:pt x="840581" y="369951"/>
                  </a:cubicBezTo>
                  <a:lnTo>
                    <a:pt x="566260" y="369951"/>
                  </a:lnTo>
                  <a:lnTo>
                    <a:pt x="566260" y="313563"/>
                  </a:lnTo>
                  <a:lnTo>
                    <a:pt x="812387" y="313563"/>
                  </a:lnTo>
                  <a:cubicBezTo>
                    <a:pt x="860393" y="313563"/>
                    <a:pt x="860393" y="280511"/>
                    <a:pt x="860393" y="264509"/>
                  </a:cubicBezTo>
                  <a:cubicBezTo>
                    <a:pt x="860393" y="247269"/>
                    <a:pt x="860393" y="209455"/>
                    <a:pt x="811148" y="209455"/>
                  </a:cubicBezTo>
                  <a:lnTo>
                    <a:pt x="650366" y="209455"/>
                  </a:lnTo>
                  <a:cubicBezTo>
                    <a:pt x="584072" y="209455"/>
                    <a:pt x="559974" y="160592"/>
                    <a:pt x="559974" y="102680"/>
                  </a:cubicBezTo>
                  <a:cubicBezTo>
                    <a:pt x="559974" y="48482"/>
                    <a:pt x="582072" y="0"/>
                    <a:pt x="655033" y="0"/>
                  </a:cubicBezTo>
                  <a:close/>
                  <a:moveTo>
                    <a:pt x="0" y="0"/>
                  </a:moveTo>
                  <a:lnTo>
                    <a:pt x="426911" y="0"/>
                  </a:lnTo>
                  <a:cubicBezTo>
                    <a:pt x="493776" y="0"/>
                    <a:pt x="519779" y="53245"/>
                    <a:pt x="519684" y="103632"/>
                  </a:cubicBezTo>
                  <a:lnTo>
                    <a:pt x="519684" y="370046"/>
                  </a:lnTo>
                  <a:lnTo>
                    <a:pt x="452057" y="370046"/>
                  </a:lnTo>
                  <a:lnTo>
                    <a:pt x="452057" y="122396"/>
                  </a:lnTo>
                  <a:cubicBezTo>
                    <a:pt x="452057" y="77153"/>
                    <a:pt x="427577" y="56293"/>
                    <a:pt x="392811" y="56293"/>
                  </a:cubicBezTo>
                  <a:lnTo>
                    <a:pt x="289941" y="56293"/>
                  </a:lnTo>
                  <a:lnTo>
                    <a:pt x="289941" y="370046"/>
                  </a:lnTo>
                  <a:lnTo>
                    <a:pt x="222218" y="370046"/>
                  </a:lnTo>
                  <a:lnTo>
                    <a:pt x="222218" y="56293"/>
                  </a:lnTo>
                  <a:lnTo>
                    <a:pt x="67532" y="56293"/>
                  </a:lnTo>
                  <a:lnTo>
                    <a:pt x="67532" y="370046"/>
                  </a:lnTo>
                  <a:lnTo>
                    <a:pt x="0" y="370046"/>
                  </a:lnTo>
                  <a:close/>
                </a:path>
              </a:pathLst>
            </a:custGeom>
            <a:solidFill>
              <a:schemeClr val="tx2"/>
            </a:solidFill>
            <a:ln w="9525" cap="flat">
              <a:noFill/>
              <a:prstDash val="solid"/>
              <a:miter/>
            </a:ln>
          </p:spPr>
          <p:txBody>
            <a:bodyPr rtlCol="0" anchor="ctr"/>
            <a:lstStyle/>
            <a:p>
              <a:endParaRPr lang="de-DE">
                <a:latin typeface="Carnac Light" panose="02000503000000020004" pitchFamily="2" charset="77"/>
              </a:endParaRPr>
            </a:p>
          </p:txBody>
        </p:sp>
      </p:grpSp>
      <p:grpSp>
        <p:nvGrpSpPr>
          <p:cNvPr id="194" name="Gruppieren 193">
            <a:extLst>
              <a:ext uri="{FF2B5EF4-FFF2-40B4-BE49-F238E27FC236}">
                <a16:creationId xmlns:a16="http://schemas.microsoft.com/office/drawing/2014/main" id="{A3811DA7-364A-B341-4230-C092FB6FD351}"/>
              </a:ext>
              <a:ext uri="{C183D7F6-B498-43B3-948B-1728B52AA6E4}">
                <adec:decorative xmlns:adec="http://schemas.microsoft.com/office/drawing/2017/decorative" val="1"/>
              </a:ext>
            </a:extLst>
          </p:cNvPr>
          <p:cNvGrpSpPr/>
          <p:nvPr/>
        </p:nvGrpSpPr>
        <p:grpSpPr bwMode="gray">
          <a:xfrm>
            <a:off x="-254000" y="296863"/>
            <a:ext cx="144000" cy="6300787"/>
            <a:chOff x="0" y="296863"/>
            <a:chExt cx="12192000" cy="6300787"/>
          </a:xfrm>
        </p:grpSpPr>
        <p:cxnSp>
          <p:nvCxnSpPr>
            <p:cNvPr id="195" name="Gerader Verbinder 194">
              <a:extLst>
                <a:ext uri="{FF2B5EF4-FFF2-40B4-BE49-F238E27FC236}">
                  <a16:creationId xmlns:a16="http://schemas.microsoft.com/office/drawing/2014/main" id="{3CCFF7FE-7565-4968-7AF1-0F0BE2DC7C38}"/>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C9ACC59B-A453-C6BE-6472-98C2ECF3FE4E}"/>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1131A078-F452-9C8F-058F-AF67F493B608}"/>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49E20DE0-9297-4E53-063D-891AB6F50B47}"/>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1D2A5BFC-0746-E840-27B7-8F7154B21739}"/>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DF6E6E15-004C-6BEF-0238-AAAD6F787678}"/>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1D008AEF-FD6F-5A25-7138-32B616CAFADF}"/>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2" name="Gruppieren 201">
            <a:extLst>
              <a:ext uri="{FF2B5EF4-FFF2-40B4-BE49-F238E27FC236}">
                <a16:creationId xmlns:a16="http://schemas.microsoft.com/office/drawing/2014/main" id="{1F7B3A71-9F16-6074-908B-10A4C7CD7286}"/>
              </a:ext>
              <a:ext uri="{C183D7F6-B498-43B3-948B-1728B52AA6E4}">
                <adec:decorative xmlns:adec="http://schemas.microsoft.com/office/drawing/2017/decorative" val="1"/>
              </a:ext>
            </a:extLst>
          </p:cNvPr>
          <p:cNvGrpSpPr/>
          <p:nvPr/>
        </p:nvGrpSpPr>
        <p:grpSpPr bwMode="gray">
          <a:xfrm>
            <a:off x="12301940" y="296863"/>
            <a:ext cx="144000" cy="6300787"/>
            <a:chOff x="0" y="296863"/>
            <a:chExt cx="12192000" cy="6300787"/>
          </a:xfrm>
        </p:grpSpPr>
        <p:cxnSp>
          <p:nvCxnSpPr>
            <p:cNvPr id="203" name="Gerader Verbinder 202">
              <a:extLst>
                <a:ext uri="{FF2B5EF4-FFF2-40B4-BE49-F238E27FC236}">
                  <a16:creationId xmlns:a16="http://schemas.microsoft.com/office/drawing/2014/main" id="{D430E444-BF1C-AC31-31F4-C6D9432793EF}"/>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67259A84-FA09-C7B4-50E0-B3559027945F}"/>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2649E30C-CCC7-2984-0ED1-8C275546A63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E768D608-E96D-4626-3DA7-C9163C4970FE}"/>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FB5288C3-A930-1810-F79E-E619AE7366FE}"/>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FF2651DF-BE15-D2D9-6867-0705D2E92D76}"/>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6F64EEDF-5235-E4C3-54EC-0B551AF39C8A}"/>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69626515"/>
      </p:ext>
    </p:extLst>
  </p:cSld>
  <p:clrMapOvr>
    <a:masterClrMapping/>
  </p:clrMapOvr>
  <p:hf hdr="0" ft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Spalte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651828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8833"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8833" cy="738664"/>
          </a:xfrm>
        </p:spPr>
        <p:txBody>
          <a:bodyPr vert="horz"/>
          <a:lstStyle>
            <a:lvl1pPr rtl="0">
              <a:defRPr/>
            </a:lvl1pPr>
          </a:lstStyle>
          <a:p>
            <a:r>
              <a:rPr lang="de-DE"/>
              <a:t>Mastertitelformat bearbeiten</a:t>
            </a:r>
            <a:endParaRPr lang="de-DE" dirty="0"/>
          </a:p>
        </p:txBody>
      </p:sp>
      <p:sp>
        <p:nvSpPr>
          <p:cNvPr id="5" name="Textplatzhalter 4" descr="Linke Textbox">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9" y="1773239"/>
            <a:ext cx="5400544"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Textplatzhalter 6" descr="Rechte Textbox">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6456480" y="1773239"/>
            <a:ext cx="5400557"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endParaRPr lang="en-US"/>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C7D046C8-03B9-4997-9490-81EAE2ED7C49}" type="slidenum">
              <a:rPr lang="en-US" smtClean="0"/>
              <a:t>‹Nr.›</a:t>
            </a:fld>
            <a:endParaRPr lang="en-US"/>
          </a:p>
        </p:txBody>
      </p:sp>
    </p:spTree>
    <p:extLst>
      <p:ext uri="{BB962C8B-B14F-4D97-AF65-F5344CB8AC3E}">
        <p14:creationId xmlns:p14="http://schemas.microsoft.com/office/powerpoint/2010/main" val="1739435906"/>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 Spalte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1335685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8833" cy="169277"/>
          </a:xfrm>
          <a:noFill/>
        </p:spPr>
        <p:txBody>
          <a:bodyPr wrap="square" lIns="0" tIns="0" rIns="0" bIns="0" anchor="ctr">
            <a:noAutofit/>
          </a:bodyPr>
          <a:lstStyle>
            <a:lvl1pPr rtl="0">
              <a:defRPr sz="1100" b="0">
                <a:solidFill>
                  <a:schemeClr val="tx1"/>
                </a:solidFill>
              </a:defRPr>
            </a:lvl1pPr>
          </a:lstStyle>
          <a:p>
            <a:pPr lvl="0"/>
            <a:r>
              <a:rPr lang="de-DE" dirty="0" err="1"/>
              <a:t>Subtitle</a:t>
            </a:r>
            <a:r>
              <a:rPr lang="de-DE" dirty="0"/>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8833" cy="738664"/>
          </a:xfrm>
        </p:spPr>
        <p:txBody>
          <a:bodyPr vert="horz"/>
          <a:lstStyle>
            <a:lvl1pPr rtl="0">
              <a:defRPr/>
            </a:lvl1pPr>
          </a:lstStyle>
          <a:p>
            <a:r>
              <a:rPr lang="de-DE"/>
              <a:t>Mastertitelformat bearbeiten</a:t>
            </a:r>
          </a:p>
        </p:txBody>
      </p:sp>
      <p:sp>
        <p:nvSpPr>
          <p:cNvPr id="5" name="Textplatzhalter 4" descr="Linke Textbox">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90" y="1773239"/>
            <a:ext cx="3456346"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Textplatzhalter 6" descr="Mittlere Textbox">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4512282" y="1773239"/>
            <a:ext cx="3456350"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Textplatzhalter 3" descr="Rechte Textbox">
            <a:extLst>
              <a:ext uri="{FF2B5EF4-FFF2-40B4-BE49-F238E27FC236}">
                <a16:creationId xmlns:a16="http://schemas.microsoft.com/office/drawing/2014/main" id="{B3589477-55C5-26BE-8AA6-D6C317AE70AC}"/>
              </a:ext>
            </a:extLst>
          </p:cNvPr>
          <p:cNvSpPr>
            <a:spLocks noGrp="1"/>
          </p:cNvSpPr>
          <p:nvPr>
            <p:ph type="body" sz="quarter" idx="15"/>
          </p:nvPr>
        </p:nvSpPr>
        <p:spPr bwMode="gray">
          <a:xfrm>
            <a:off x="8400678" y="1773239"/>
            <a:ext cx="3456359"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endParaRPr lang="en-US"/>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C7D046C8-03B9-4997-9490-81EAE2ED7C49}" type="slidenum">
              <a:rPr lang="en-US" smtClean="0"/>
              <a:t>‹Nr.›</a:t>
            </a:fld>
            <a:endParaRPr lang="en-US"/>
          </a:p>
        </p:txBody>
      </p:sp>
    </p:spTree>
    <p:extLst>
      <p:ext uri="{BB962C8B-B14F-4D97-AF65-F5344CB8AC3E}">
        <p14:creationId xmlns:p14="http://schemas.microsoft.com/office/powerpoint/2010/main" val="3907185427"/>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ext und Bild 1">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647386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1" name="Bildplatzhalter 90" descr="Bild füllt 1/3 der Folie aus, rechts Titel, Untertitel und Inhaltsbereich, Bild ist änderbar">
            <a:extLst>
              <a:ext uri="{FF2B5EF4-FFF2-40B4-BE49-F238E27FC236}">
                <a16:creationId xmlns:a16="http://schemas.microsoft.com/office/drawing/2014/main" id="{007B28C8-5E97-92DD-BBC1-001A15B6747A}"/>
              </a:ext>
            </a:extLst>
          </p:cNvPr>
          <p:cNvSpPr>
            <a:spLocks noGrp="1"/>
          </p:cNvSpPr>
          <p:nvPr>
            <p:ph type="pic" sz="quarter" idx="14"/>
          </p:nvPr>
        </p:nvSpPr>
        <p:spPr bwMode="gray">
          <a:xfrm>
            <a:off x="0" y="1"/>
            <a:ext cx="4302682" cy="6857999"/>
          </a:xfrm>
          <a:custGeom>
            <a:avLst/>
            <a:gdLst>
              <a:gd name="connsiteX0" fmla="*/ 0 w 4302682"/>
              <a:gd name="connsiteY0" fmla="*/ 0 h 6857999"/>
              <a:gd name="connsiteX1" fmla="*/ 3867433 w 4302682"/>
              <a:gd name="connsiteY1" fmla="*/ 0 h 6857999"/>
              <a:gd name="connsiteX2" fmla="*/ 3867433 w 4302682"/>
              <a:gd name="connsiteY2" fmla="*/ 1557589 h 6857999"/>
              <a:gd name="connsiteX3" fmla="*/ 4083081 w 4302682"/>
              <a:gd name="connsiteY3" fmla="*/ 1773237 h 6857999"/>
              <a:gd name="connsiteX4" fmla="*/ 4302682 w 4302682"/>
              <a:gd name="connsiteY4" fmla="*/ 1773237 h 6857999"/>
              <a:gd name="connsiteX5" fmla="*/ 4302682 w 4302682"/>
              <a:gd name="connsiteY5" fmla="*/ 6857999 h 6857999"/>
              <a:gd name="connsiteX6" fmla="*/ 0 w 4302682"/>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02682" h="6857999">
                <a:moveTo>
                  <a:pt x="0" y="0"/>
                </a:moveTo>
                <a:lnTo>
                  <a:pt x="3867433" y="0"/>
                </a:lnTo>
                <a:lnTo>
                  <a:pt x="3867433" y="1557589"/>
                </a:lnTo>
                <a:cubicBezTo>
                  <a:pt x="3867433" y="1676688"/>
                  <a:pt x="3963982" y="1773237"/>
                  <a:pt x="4083081" y="1773237"/>
                </a:cubicBezTo>
                <a:lnTo>
                  <a:pt x="4302682" y="1773237"/>
                </a:lnTo>
                <a:lnTo>
                  <a:pt x="4302682" y="6857999"/>
                </a:lnTo>
                <a:lnTo>
                  <a:pt x="0" y="6857999"/>
                </a:lnTo>
                <a:close/>
              </a:path>
            </a:pathLst>
          </a:custGeom>
          <a:solidFill>
            <a:schemeClr val="bg2"/>
          </a:solidFill>
        </p:spPr>
        <p:txBody>
          <a:bodyPr wrap="square">
            <a:noAutofit/>
          </a:bodyPr>
          <a:lstStyle>
            <a:lvl1pPr rtl="0">
              <a:defRPr>
                <a:solidFill>
                  <a:schemeClr val="tx1"/>
                </a:solidFill>
              </a:defRPr>
            </a:lvl1pPr>
          </a:lstStyle>
          <a:p>
            <a:r>
              <a:rPr lang="de-DE"/>
              <a:t>Bild durch Klicken auf Symbol hinzufüg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4944328" y="296863"/>
            <a:ext cx="4974926" cy="169277"/>
          </a:xfrm>
          <a:noFill/>
        </p:spPr>
        <p:txBody>
          <a:bodyPr wrap="square" lIns="0" tIns="0" rIns="0" bIns="0" anchor="ctr">
            <a:noAutofit/>
          </a:bodyPr>
          <a:lstStyle>
            <a:lvl1pPr rtl="0">
              <a:defRPr sz="1100" b="0">
                <a:solidFill>
                  <a:schemeClr val="tx1"/>
                </a:solidFill>
              </a:defRPr>
            </a:lvl1pPr>
          </a:lstStyle>
          <a:p>
            <a:pPr lvl="0"/>
            <a:r>
              <a:rPr lang="de-DE" dirty="0" err="1"/>
              <a:t>Subtitle</a:t>
            </a:r>
            <a:r>
              <a:rPr lang="de-DE" dirty="0"/>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4944328" y="620713"/>
            <a:ext cx="4974926" cy="738664"/>
          </a:xfrm>
        </p:spPr>
        <p:txBody>
          <a:bodyPr vert="horz"/>
          <a:lstStyle>
            <a:lvl1pPr rtl="0">
              <a:defRPr/>
            </a:lvl1pPr>
          </a:lstStyle>
          <a:p>
            <a:r>
              <a:rPr lang="de-DE"/>
              <a:t>Mastertitelformat bearbeit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4944324" y="1773239"/>
            <a:ext cx="6912714"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a:xfrm>
            <a:off x="4944324" y="6443762"/>
            <a:ext cx="4974930" cy="153888"/>
          </a:xfrm>
        </p:spPr>
        <p:txBody>
          <a:bodyPr/>
          <a:lstStyle>
            <a:lvl1pPr rtl="0">
              <a:defRPr>
                <a:solidFill>
                  <a:schemeClr val="tx1"/>
                </a:solidFill>
              </a:defRPr>
            </a:lvl1pPr>
          </a:lstStyle>
          <a:p>
            <a:endParaRPr lang="en-US"/>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solidFill>
                  <a:schemeClr val="tx1"/>
                </a:solidFill>
              </a:defRPr>
            </a:lvl1pPr>
          </a:lstStyle>
          <a:p>
            <a:fld id="{C7D046C8-03B9-4997-9490-81EAE2ED7C49}" type="slidenum">
              <a:rPr lang="en-US" smtClean="0"/>
              <a:t>‹Nr.›</a:t>
            </a:fld>
            <a:endParaRPr lang="en-US"/>
          </a:p>
        </p:txBody>
      </p:sp>
      <p:pic>
        <p:nvPicPr>
          <p:cNvPr id="4" name="Grafik 3">
            <a:extLst>
              <a:ext uri="{FF2B5EF4-FFF2-40B4-BE49-F238E27FC236}">
                <a16:creationId xmlns:a16="http://schemas.microsoft.com/office/drawing/2014/main" id="{D684F5B5-5273-4FF9-4AAC-215A32F59BEA}"/>
              </a:ext>
              <a:ext uri="{C183D7F6-B498-43B3-948B-1728B52AA6E4}">
                <adec:decorative xmlns:adec="http://schemas.microsoft.com/office/drawing/2017/decorative" val="1"/>
              </a:ext>
            </a:extLst>
          </p:cNvPr>
          <p:cNvPicPr>
            <a:picLocks/>
          </p:cNvPicPr>
          <p:nvPr/>
        </p:nvPicPr>
        <p:blipFill rotWithShape="1">
          <a:blip r:embed="rId5">
            <a:extLst>
              <a:ext uri="{28A0092B-C50C-407E-A947-70E740481C1C}">
                <a14:useLocalDpi xmlns:a14="http://schemas.microsoft.com/office/drawing/2010/main" val="0"/>
              </a:ext>
            </a:extLst>
          </a:blip>
          <a:srcRect/>
          <a:stretch/>
        </p:blipFill>
        <p:spPr bwMode="gray">
          <a:xfrm>
            <a:off x="4944324" y="1485292"/>
            <a:ext cx="1202053" cy="57600"/>
          </a:xfrm>
          <a:prstGeom prst="rect">
            <a:avLst/>
          </a:prstGeom>
        </p:spPr>
      </p:pic>
    </p:spTree>
    <p:extLst>
      <p:ext uri="{BB962C8B-B14F-4D97-AF65-F5344CB8AC3E}">
        <p14:creationId xmlns:p14="http://schemas.microsoft.com/office/powerpoint/2010/main" val="433884397"/>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ext und Bild 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2943067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2" name="Bildplatzhalter 111" descr="Bild füllt die Hälfte der Folie aus, links Titel , Untertitel und Inhaltsbereich, Bild ist änderbar">
            <a:extLst>
              <a:ext uri="{FF2B5EF4-FFF2-40B4-BE49-F238E27FC236}">
                <a16:creationId xmlns:a16="http://schemas.microsoft.com/office/drawing/2014/main" id="{57BE64DB-4F36-89B3-381F-1A5523E83103}"/>
              </a:ext>
            </a:extLst>
          </p:cNvPr>
          <p:cNvSpPr>
            <a:spLocks noGrp="1"/>
          </p:cNvSpPr>
          <p:nvPr>
            <p:ph type="pic" sz="quarter" idx="14"/>
          </p:nvPr>
        </p:nvSpPr>
        <p:spPr bwMode="gray">
          <a:xfrm>
            <a:off x="6024438" y="1"/>
            <a:ext cx="6167561" cy="6857999"/>
          </a:xfrm>
          <a:custGeom>
            <a:avLst/>
            <a:gdLst>
              <a:gd name="connsiteX0" fmla="*/ 4723326 w 6167561"/>
              <a:gd name="connsiteY0" fmla="*/ 454510 h 6857999"/>
              <a:gd name="connsiteX1" fmla="*/ 4662622 w 6167561"/>
              <a:gd name="connsiteY1" fmla="*/ 514510 h 6857999"/>
              <a:gd name="connsiteX2" fmla="*/ 4723326 w 6167561"/>
              <a:gd name="connsiteY2" fmla="*/ 574510 h 6857999"/>
              <a:gd name="connsiteX3" fmla="*/ 4784030 w 6167561"/>
              <a:gd name="connsiteY3" fmla="*/ 514510 h 6857999"/>
              <a:gd name="connsiteX4" fmla="*/ 4723326 w 6167561"/>
              <a:gd name="connsiteY4" fmla="*/ 454510 h 6857999"/>
              <a:gd name="connsiteX5" fmla="*/ 5673408 w 6167561"/>
              <a:gd name="connsiteY5" fmla="*/ 338981 h 6857999"/>
              <a:gd name="connsiteX6" fmla="*/ 5778153 w 6167561"/>
              <a:gd name="connsiteY6" fmla="*/ 338981 h 6857999"/>
              <a:gd name="connsiteX7" fmla="*/ 5778153 w 6167561"/>
              <a:gd name="connsiteY7" fmla="*/ 530745 h 6857999"/>
              <a:gd name="connsiteX8" fmla="*/ 5671266 w 6167561"/>
              <a:gd name="connsiteY8" fmla="*/ 530745 h 6857999"/>
              <a:gd name="connsiteX9" fmla="*/ 5606752 w 6167561"/>
              <a:gd name="connsiteY9" fmla="*/ 492628 h 6857999"/>
              <a:gd name="connsiteX10" fmla="*/ 5606752 w 6167561"/>
              <a:gd name="connsiteY10" fmla="*/ 432863 h 6857999"/>
              <a:gd name="connsiteX11" fmla="*/ 5606752 w 6167561"/>
              <a:gd name="connsiteY11" fmla="*/ 383687 h 6857999"/>
              <a:gd name="connsiteX12" fmla="*/ 5673408 w 6167561"/>
              <a:gd name="connsiteY12" fmla="*/ 338981 h 6857999"/>
              <a:gd name="connsiteX13" fmla="*/ 5655792 w 6167561"/>
              <a:gd name="connsiteY13" fmla="*/ 296863 h 6857999"/>
              <a:gd name="connsiteX14" fmla="*/ 5581042 w 6167561"/>
              <a:gd name="connsiteY14" fmla="*/ 313804 h 6857999"/>
              <a:gd name="connsiteX15" fmla="*/ 5554856 w 6167561"/>
              <a:gd name="connsiteY15" fmla="*/ 384392 h 6857999"/>
              <a:gd name="connsiteX16" fmla="*/ 5554856 w 6167561"/>
              <a:gd name="connsiteY16" fmla="*/ 483922 h 6857999"/>
              <a:gd name="connsiteX17" fmla="*/ 5582708 w 6167561"/>
              <a:gd name="connsiteY17" fmla="*/ 558275 h 6857999"/>
              <a:gd name="connsiteX18" fmla="*/ 5656030 w 6167561"/>
              <a:gd name="connsiteY18" fmla="*/ 572628 h 6857999"/>
              <a:gd name="connsiteX19" fmla="*/ 5778153 w 6167561"/>
              <a:gd name="connsiteY19" fmla="*/ 572628 h 6857999"/>
              <a:gd name="connsiteX20" fmla="*/ 5778153 w 6167561"/>
              <a:gd name="connsiteY20" fmla="*/ 583216 h 6857999"/>
              <a:gd name="connsiteX21" fmla="*/ 5749824 w 6167561"/>
              <a:gd name="connsiteY21" fmla="*/ 613098 h 6857999"/>
              <a:gd name="connsiteX22" fmla="*/ 5590564 w 6167561"/>
              <a:gd name="connsiteY22" fmla="*/ 613098 h 6857999"/>
              <a:gd name="connsiteX23" fmla="*/ 5590564 w 6167561"/>
              <a:gd name="connsiteY23" fmla="*/ 657334 h 6857999"/>
              <a:gd name="connsiteX24" fmla="*/ 5766250 w 6167561"/>
              <a:gd name="connsiteY24" fmla="*/ 657334 h 6857999"/>
              <a:gd name="connsiteX25" fmla="*/ 5828859 w 6167561"/>
              <a:gd name="connsiteY25" fmla="*/ 597098 h 6857999"/>
              <a:gd name="connsiteX26" fmla="*/ 5828859 w 6167561"/>
              <a:gd name="connsiteY26" fmla="*/ 296863 h 6857999"/>
              <a:gd name="connsiteX27" fmla="*/ 5317276 w 6167561"/>
              <a:gd name="connsiteY27" fmla="*/ 296863 h 6857999"/>
              <a:gd name="connsiteX28" fmla="*/ 5245621 w 6167561"/>
              <a:gd name="connsiteY28" fmla="*/ 373334 h 6857999"/>
              <a:gd name="connsiteX29" fmla="*/ 5313705 w 6167561"/>
              <a:gd name="connsiteY29" fmla="*/ 452863 h 6857999"/>
              <a:gd name="connsiteX30" fmla="*/ 5434876 w 6167561"/>
              <a:gd name="connsiteY30" fmla="*/ 452863 h 6857999"/>
              <a:gd name="connsiteX31" fmla="*/ 5472012 w 6167561"/>
              <a:gd name="connsiteY31" fmla="*/ 494039 h 6857999"/>
              <a:gd name="connsiteX32" fmla="*/ 5435828 w 6167561"/>
              <a:gd name="connsiteY32" fmla="*/ 530745 h 6857999"/>
              <a:gd name="connsiteX33" fmla="*/ 5250382 w 6167561"/>
              <a:gd name="connsiteY33" fmla="*/ 530745 h 6857999"/>
              <a:gd name="connsiteX34" fmla="*/ 5250382 w 6167561"/>
              <a:gd name="connsiteY34" fmla="*/ 572863 h 6857999"/>
              <a:gd name="connsiteX35" fmla="*/ 5457254 w 6167561"/>
              <a:gd name="connsiteY35" fmla="*/ 572863 h 6857999"/>
              <a:gd name="connsiteX36" fmla="*/ 5523671 w 6167561"/>
              <a:gd name="connsiteY36" fmla="*/ 494510 h 6857999"/>
              <a:gd name="connsiteX37" fmla="*/ 5460586 w 6167561"/>
              <a:gd name="connsiteY37" fmla="*/ 411216 h 6857999"/>
              <a:gd name="connsiteX38" fmla="*/ 5329655 w 6167561"/>
              <a:gd name="connsiteY38" fmla="*/ 411216 h 6857999"/>
              <a:gd name="connsiteX39" fmla="*/ 5296565 w 6167561"/>
              <a:gd name="connsiteY39" fmla="*/ 374510 h 6857999"/>
              <a:gd name="connsiteX40" fmla="*/ 5335130 w 6167561"/>
              <a:gd name="connsiteY40" fmla="*/ 338981 h 6857999"/>
              <a:gd name="connsiteX41" fmla="*/ 5513911 w 6167561"/>
              <a:gd name="connsiteY41" fmla="*/ 338981 h 6857999"/>
              <a:gd name="connsiteX42" fmla="*/ 5513911 w 6167561"/>
              <a:gd name="connsiteY42" fmla="*/ 297098 h 6857999"/>
              <a:gd name="connsiteX43" fmla="*/ 4823309 w 6167561"/>
              <a:gd name="connsiteY43" fmla="*/ 296863 h 6857999"/>
              <a:gd name="connsiteX44" fmla="*/ 4823309 w 6167561"/>
              <a:gd name="connsiteY44" fmla="*/ 572628 h 6857999"/>
              <a:gd name="connsiteX45" fmla="*/ 4874253 w 6167561"/>
              <a:gd name="connsiteY45" fmla="*/ 572628 h 6857999"/>
              <a:gd name="connsiteX46" fmla="*/ 4874253 w 6167561"/>
              <a:gd name="connsiteY46" fmla="*/ 338745 h 6857999"/>
              <a:gd name="connsiteX47" fmla="*/ 4990900 w 6167561"/>
              <a:gd name="connsiteY47" fmla="*/ 338745 h 6857999"/>
              <a:gd name="connsiteX48" fmla="*/ 4990900 w 6167561"/>
              <a:gd name="connsiteY48" fmla="*/ 572628 h 6857999"/>
              <a:gd name="connsiteX49" fmla="*/ 5042082 w 6167561"/>
              <a:gd name="connsiteY49" fmla="*/ 572628 h 6857999"/>
              <a:gd name="connsiteX50" fmla="*/ 5042082 w 6167561"/>
              <a:gd name="connsiteY50" fmla="*/ 338745 h 6857999"/>
              <a:gd name="connsiteX51" fmla="*/ 5119688 w 6167561"/>
              <a:gd name="connsiteY51" fmla="*/ 338745 h 6857999"/>
              <a:gd name="connsiteX52" fmla="*/ 5164444 w 6167561"/>
              <a:gd name="connsiteY52" fmla="*/ 387922 h 6857999"/>
              <a:gd name="connsiteX53" fmla="*/ 5164444 w 6167561"/>
              <a:gd name="connsiteY53" fmla="*/ 572628 h 6857999"/>
              <a:gd name="connsiteX54" fmla="*/ 5215388 w 6167561"/>
              <a:gd name="connsiteY54" fmla="*/ 572628 h 6857999"/>
              <a:gd name="connsiteX55" fmla="*/ 5215388 w 6167561"/>
              <a:gd name="connsiteY55" fmla="*/ 374039 h 6857999"/>
              <a:gd name="connsiteX56" fmla="*/ 5145399 w 6167561"/>
              <a:gd name="connsiteY56" fmla="*/ 296863 h 6857999"/>
              <a:gd name="connsiteX57" fmla="*/ 432037 w 6167561"/>
              <a:gd name="connsiteY57" fmla="*/ 0 h 6857999"/>
              <a:gd name="connsiteX58" fmla="*/ 6167561 w 6167561"/>
              <a:gd name="connsiteY58" fmla="*/ 0 h 6857999"/>
              <a:gd name="connsiteX59" fmla="*/ 6167561 w 6167561"/>
              <a:gd name="connsiteY59" fmla="*/ 6857999 h 6857999"/>
              <a:gd name="connsiteX60" fmla="*/ 0 w 6167561"/>
              <a:gd name="connsiteY60" fmla="*/ 6857999 h 6857999"/>
              <a:gd name="connsiteX61" fmla="*/ 0 w 6167561"/>
              <a:gd name="connsiteY61" fmla="*/ 1773237 h 6857999"/>
              <a:gd name="connsiteX62" fmla="*/ 216034 w 6167561"/>
              <a:gd name="connsiteY62" fmla="*/ 1773237 h 6857999"/>
              <a:gd name="connsiteX63" fmla="*/ 231901 w 6167561"/>
              <a:gd name="connsiteY63" fmla="*/ 1773237 h 6857999"/>
              <a:gd name="connsiteX64" fmla="*/ 248100 w 6167561"/>
              <a:gd name="connsiteY64" fmla="*/ 1770005 h 6857999"/>
              <a:gd name="connsiteX65" fmla="*/ 259566 w 6167561"/>
              <a:gd name="connsiteY65" fmla="*/ 1768849 h 6857999"/>
              <a:gd name="connsiteX66" fmla="*/ 269778 w 6167561"/>
              <a:gd name="connsiteY66" fmla="*/ 1765679 h 6857999"/>
              <a:gd name="connsiteX67" fmla="*/ 277036 w 6167561"/>
              <a:gd name="connsiteY67" fmla="*/ 1764231 h 6857999"/>
              <a:gd name="connsiteX68" fmla="*/ 279296 w 6167561"/>
              <a:gd name="connsiteY68" fmla="*/ 1762724 h 6857999"/>
              <a:gd name="connsiteX69" fmla="*/ 300112 w 6167561"/>
              <a:gd name="connsiteY69" fmla="*/ 1756263 h 6857999"/>
              <a:gd name="connsiteX70" fmla="*/ 432037 w 6167561"/>
              <a:gd name="connsiteY70" fmla="*/ 1557234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167561" h="6857999">
                <a:moveTo>
                  <a:pt x="4723326" y="454510"/>
                </a:moveTo>
                <a:cubicBezTo>
                  <a:pt x="4689760" y="454510"/>
                  <a:pt x="4662622" y="481334"/>
                  <a:pt x="4662622" y="514510"/>
                </a:cubicBezTo>
                <a:cubicBezTo>
                  <a:pt x="4662622" y="547686"/>
                  <a:pt x="4689760" y="574510"/>
                  <a:pt x="4723326" y="574510"/>
                </a:cubicBezTo>
                <a:cubicBezTo>
                  <a:pt x="4756892" y="574510"/>
                  <a:pt x="4784030" y="547686"/>
                  <a:pt x="4784030" y="514510"/>
                </a:cubicBezTo>
                <a:cubicBezTo>
                  <a:pt x="4784030" y="481334"/>
                  <a:pt x="4756892" y="454510"/>
                  <a:pt x="4723326" y="454510"/>
                </a:cubicBezTo>
                <a:close/>
                <a:moveTo>
                  <a:pt x="5673408" y="338981"/>
                </a:moveTo>
                <a:lnTo>
                  <a:pt x="5778153" y="338981"/>
                </a:lnTo>
                <a:lnTo>
                  <a:pt x="5778153" y="530745"/>
                </a:lnTo>
                <a:lnTo>
                  <a:pt x="5671266" y="530745"/>
                </a:lnTo>
                <a:cubicBezTo>
                  <a:pt x="5639604" y="530981"/>
                  <a:pt x="5607704" y="533098"/>
                  <a:pt x="5606752" y="492628"/>
                </a:cubicBezTo>
                <a:cubicBezTo>
                  <a:pt x="5606752" y="490981"/>
                  <a:pt x="5606514" y="476157"/>
                  <a:pt x="5606752" y="432863"/>
                </a:cubicBezTo>
                <a:cubicBezTo>
                  <a:pt x="5606991" y="396157"/>
                  <a:pt x="5606514" y="387451"/>
                  <a:pt x="5606752" y="383687"/>
                </a:cubicBezTo>
                <a:cubicBezTo>
                  <a:pt x="5608418" y="349804"/>
                  <a:pt x="5621036" y="337804"/>
                  <a:pt x="5673408" y="338981"/>
                </a:cubicBezTo>
                <a:close/>
                <a:moveTo>
                  <a:pt x="5655792" y="296863"/>
                </a:moveTo>
                <a:cubicBezTo>
                  <a:pt x="5610324" y="296863"/>
                  <a:pt x="5593422" y="303922"/>
                  <a:pt x="5581042" y="313804"/>
                </a:cubicBezTo>
                <a:cubicBezTo>
                  <a:pt x="5567474" y="324628"/>
                  <a:pt x="5555094" y="338039"/>
                  <a:pt x="5554856" y="384392"/>
                </a:cubicBezTo>
                <a:lnTo>
                  <a:pt x="5554856" y="483922"/>
                </a:lnTo>
                <a:cubicBezTo>
                  <a:pt x="5554856" y="532863"/>
                  <a:pt x="5568663" y="546745"/>
                  <a:pt x="5582708" y="558275"/>
                </a:cubicBezTo>
                <a:cubicBezTo>
                  <a:pt x="5592230" y="564863"/>
                  <a:pt x="5607943" y="572628"/>
                  <a:pt x="5656030" y="572628"/>
                </a:cubicBezTo>
                <a:lnTo>
                  <a:pt x="5778153" y="572628"/>
                </a:lnTo>
                <a:lnTo>
                  <a:pt x="5778153" y="583216"/>
                </a:lnTo>
                <a:cubicBezTo>
                  <a:pt x="5778153" y="604157"/>
                  <a:pt x="5774106" y="613098"/>
                  <a:pt x="5749824" y="613098"/>
                </a:cubicBezTo>
                <a:lnTo>
                  <a:pt x="5590564" y="613098"/>
                </a:lnTo>
                <a:lnTo>
                  <a:pt x="5590564" y="657334"/>
                </a:lnTo>
                <a:lnTo>
                  <a:pt x="5766250" y="657334"/>
                </a:lnTo>
                <a:cubicBezTo>
                  <a:pt x="5813624" y="657334"/>
                  <a:pt x="5828859" y="636392"/>
                  <a:pt x="5828859" y="597098"/>
                </a:cubicBezTo>
                <a:lnTo>
                  <a:pt x="5828859" y="296863"/>
                </a:lnTo>
                <a:close/>
                <a:moveTo>
                  <a:pt x="5317276" y="296863"/>
                </a:moveTo>
                <a:cubicBezTo>
                  <a:pt x="5262286" y="296863"/>
                  <a:pt x="5245621" y="333098"/>
                  <a:pt x="5245621" y="373334"/>
                </a:cubicBezTo>
                <a:cubicBezTo>
                  <a:pt x="5245621" y="416628"/>
                  <a:pt x="5263713" y="452863"/>
                  <a:pt x="5313705" y="452863"/>
                </a:cubicBezTo>
                <a:lnTo>
                  <a:pt x="5434876" y="452863"/>
                </a:lnTo>
                <a:cubicBezTo>
                  <a:pt x="5472012" y="452863"/>
                  <a:pt x="5472012" y="481098"/>
                  <a:pt x="5472012" y="494039"/>
                </a:cubicBezTo>
                <a:cubicBezTo>
                  <a:pt x="5472012" y="506039"/>
                  <a:pt x="5472012" y="530745"/>
                  <a:pt x="5435828" y="530745"/>
                </a:cubicBezTo>
                <a:lnTo>
                  <a:pt x="5250382" y="530745"/>
                </a:lnTo>
                <a:lnTo>
                  <a:pt x="5250382" y="572863"/>
                </a:lnTo>
                <a:lnTo>
                  <a:pt x="5457254" y="572863"/>
                </a:lnTo>
                <a:cubicBezTo>
                  <a:pt x="5508912" y="572863"/>
                  <a:pt x="5523671" y="542981"/>
                  <a:pt x="5523671" y="494510"/>
                </a:cubicBezTo>
                <a:cubicBezTo>
                  <a:pt x="5523671" y="436863"/>
                  <a:pt x="5504626" y="411216"/>
                  <a:pt x="5460586" y="411216"/>
                </a:cubicBezTo>
                <a:lnTo>
                  <a:pt x="5329655" y="411216"/>
                </a:lnTo>
                <a:cubicBezTo>
                  <a:pt x="5296565" y="411216"/>
                  <a:pt x="5296565" y="389098"/>
                  <a:pt x="5296565" y="374510"/>
                </a:cubicBezTo>
                <a:cubicBezTo>
                  <a:pt x="5296565" y="362981"/>
                  <a:pt x="5299898" y="338981"/>
                  <a:pt x="5335130" y="338981"/>
                </a:cubicBezTo>
                <a:lnTo>
                  <a:pt x="5513911" y="338981"/>
                </a:lnTo>
                <a:lnTo>
                  <a:pt x="5513911" y="297098"/>
                </a:lnTo>
                <a:close/>
                <a:moveTo>
                  <a:pt x="4823309" y="296863"/>
                </a:moveTo>
                <a:lnTo>
                  <a:pt x="4823309" y="572628"/>
                </a:lnTo>
                <a:lnTo>
                  <a:pt x="4874253" y="572628"/>
                </a:lnTo>
                <a:lnTo>
                  <a:pt x="4874253" y="338745"/>
                </a:lnTo>
                <a:lnTo>
                  <a:pt x="4990900" y="338745"/>
                </a:lnTo>
                <a:lnTo>
                  <a:pt x="4990900" y="572628"/>
                </a:lnTo>
                <a:lnTo>
                  <a:pt x="5042082" y="572628"/>
                </a:lnTo>
                <a:lnTo>
                  <a:pt x="5042082" y="338745"/>
                </a:lnTo>
                <a:lnTo>
                  <a:pt x="5119688" y="338745"/>
                </a:lnTo>
                <a:cubicBezTo>
                  <a:pt x="5145876" y="338745"/>
                  <a:pt x="5164444" y="354275"/>
                  <a:pt x="5164444" y="387922"/>
                </a:cubicBezTo>
                <a:lnTo>
                  <a:pt x="5164444" y="572628"/>
                </a:lnTo>
                <a:lnTo>
                  <a:pt x="5215388" y="572628"/>
                </a:lnTo>
                <a:lnTo>
                  <a:pt x="5215388" y="374039"/>
                </a:lnTo>
                <a:cubicBezTo>
                  <a:pt x="5215388" y="336392"/>
                  <a:pt x="5195868" y="296863"/>
                  <a:pt x="5145399" y="296863"/>
                </a:cubicBezTo>
                <a:close/>
                <a:moveTo>
                  <a:pt x="432037" y="0"/>
                </a:moveTo>
                <a:lnTo>
                  <a:pt x="6167561" y="0"/>
                </a:lnTo>
                <a:lnTo>
                  <a:pt x="6167561" y="6857999"/>
                </a:lnTo>
                <a:lnTo>
                  <a:pt x="0" y="6857999"/>
                </a:lnTo>
                <a:lnTo>
                  <a:pt x="0" y="1773237"/>
                </a:lnTo>
                <a:lnTo>
                  <a:pt x="216034" y="1773237"/>
                </a:lnTo>
                <a:lnTo>
                  <a:pt x="231901" y="1773237"/>
                </a:lnTo>
                <a:lnTo>
                  <a:pt x="248100" y="1770005"/>
                </a:lnTo>
                <a:lnTo>
                  <a:pt x="259566" y="1768849"/>
                </a:lnTo>
                <a:lnTo>
                  <a:pt x="269778" y="1765679"/>
                </a:lnTo>
                <a:lnTo>
                  <a:pt x="277036" y="1764231"/>
                </a:lnTo>
                <a:lnTo>
                  <a:pt x="279296" y="1762724"/>
                </a:lnTo>
                <a:lnTo>
                  <a:pt x="300112" y="1756263"/>
                </a:lnTo>
                <a:cubicBezTo>
                  <a:pt x="377639" y="1723471"/>
                  <a:pt x="432037" y="1646705"/>
                  <a:pt x="432037" y="1557234"/>
                </a:cubicBezTo>
                <a:close/>
              </a:path>
            </a:pathLst>
          </a:custGeom>
          <a:solidFill>
            <a:schemeClr val="bg2"/>
          </a:solidFill>
        </p:spPr>
        <p:txBody>
          <a:bodyPr wrap="square">
            <a:noAutofit/>
          </a:bodyPr>
          <a:lstStyle>
            <a:lvl1pPr rtl="0">
              <a:defRPr>
                <a:solidFill>
                  <a:schemeClr val="tx1"/>
                </a:solidFill>
              </a:defRPr>
            </a:lvl1pPr>
          </a:lstStyle>
          <a:p>
            <a:r>
              <a:rPr lang="de-DE"/>
              <a:t>Bild durch Klicken auf Symbol hinzufüg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4752478"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4752478" cy="738664"/>
          </a:xfrm>
        </p:spPr>
        <p:txBody>
          <a:bodyPr vert="horz"/>
          <a:lstStyle>
            <a:lvl1pPr rtl="0">
              <a:defRPr/>
            </a:lvl1pPr>
          </a:lstStyle>
          <a:p>
            <a:r>
              <a:rPr lang="de-DE"/>
              <a:t>Mastertitelformat bearbeit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8" y="1773239"/>
            <a:ext cx="4752478"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90" name="Fußzeilenplatzhalter 189">
            <a:extLst>
              <a:ext uri="{FF2B5EF4-FFF2-40B4-BE49-F238E27FC236}">
                <a16:creationId xmlns:a16="http://schemas.microsoft.com/office/drawing/2014/main" id="{67B18C16-2F61-1021-9B48-B18BC20FCE67}"/>
              </a:ext>
            </a:extLst>
          </p:cNvPr>
          <p:cNvSpPr>
            <a:spLocks noGrp="1"/>
          </p:cNvSpPr>
          <p:nvPr>
            <p:ph type="ftr" sz="quarter" idx="15"/>
          </p:nvPr>
        </p:nvSpPr>
        <p:spPr/>
        <p:txBody>
          <a:bodyPr/>
          <a:lstStyle/>
          <a:p>
            <a:endParaRPr lang="en-US"/>
          </a:p>
        </p:txBody>
      </p:sp>
      <p:sp>
        <p:nvSpPr>
          <p:cNvPr id="191" name="Foliennummernplatzhalter 190">
            <a:extLst>
              <a:ext uri="{FF2B5EF4-FFF2-40B4-BE49-F238E27FC236}">
                <a16:creationId xmlns:a16="http://schemas.microsoft.com/office/drawing/2014/main" id="{0B3DE3E7-6D43-4C73-D660-56E6F7F5C4AF}"/>
              </a:ext>
            </a:extLst>
          </p:cNvPr>
          <p:cNvSpPr>
            <a:spLocks noGrp="1"/>
          </p:cNvSpPr>
          <p:nvPr>
            <p:ph type="sldNum" sz="quarter" idx="16"/>
          </p:nvPr>
        </p:nvSpPr>
        <p:spPr/>
        <p:txBody>
          <a:bodyPr/>
          <a:lstStyle/>
          <a:p>
            <a:fld id="{C7D046C8-03B9-4997-9490-81EAE2ED7C49}" type="slidenum">
              <a:rPr lang="en-US" smtClean="0"/>
              <a:t>‹Nr.›</a:t>
            </a:fld>
            <a:endParaRPr lang="en-US"/>
          </a:p>
        </p:txBody>
      </p:sp>
      <p:pic>
        <p:nvPicPr>
          <p:cNvPr id="4" name="Grafik 3">
            <a:extLst>
              <a:ext uri="{FF2B5EF4-FFF2-40B4-BE49-F238E27FC236}">
                <a16:creationId xmlns:a16="http://schemas.microsoft.com/office/drawing/2014/main" id="{29BDEDA6-068E-5DDA-C010-74BB94776C49}"/>
              </a:ext>
              <a:ext uri="{C183D7F6-B498-43B3-948B-1728B52AA6E4}">
                <adec:decorative xmlns:adec="http://schemas.microsoft.com/office/drawing/2017/decorative" val="1"/>
              </a:ext>
            </a:extLst>
          </p:cNvPr>
          <p:cNvPicPr>
            <a:picLocks/>
          </p:cNvPicPr>
          <p:nvPr/>
        </p:nvPicPr>
        <p:blipFill rotWithShape="1">
          <a:blip r:embed="rId5">
            <a:extLst>
              <a:ext uri="{28A0092B-C50C-407E-A947-70E740481C1C}">
                <a14:useLocalDpi xmlns:a14="http://schemas.microsoft.com/office/drawing/2010/main" val="0"/>
              </a:ext>
            </a:extLst>
          </a:blip>
          <a:srcRect/>
          <a:stretch/>
        </p:blipFill>
        <p:spPr bwMode="gray">
          <a:xfrm>
            <a:off x="623888" y="1485292"/>
            <a:ext cx="1202053" cy="57600"/>
          </a:xfrm>
          <a:prstGeom prst="rect">
            <a:avLst/>
          </a:prstGeom>
        </p:spPr>
      </p:pic>
      <p:grpSp>
        <p:nvGrpSpPr>
          <p:cNvPr id="14" name="Gruppieren 13">
            <a:extLst>
              <a:ext uri="{FF2B5EF4-FFF2-40B4-BE49-F238E27FC236}">
                <a16:creationId xmlns:a16="http://schemas.microsoft.com/office/drawing/2014/main" id="{5E4F4C11-F828-EEB5-D491-B5E147CB0001}"/>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15" name="Gerader Verbinder 14">
              <a:extLst>
                <a:ext uri="{FF2B5EF4-FFF2-40B4-BE49-F238E27FC236}">
                  <a16:creationId xmlns:a16="http://schemas.microsoft.com/office/drawing/2014/main" id="{45C8A40F-3570-7398-6606-ED012072CD5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40E6AF93-6ED4-13E4-ADF0-184B6C95E3C1}"/>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uppieren 25">
            <a:extLst>
              <a:ext uri="{FF2B5EF4-FFF2-40B4-BE49-F238E27FC236}">
                <a16:creationId xmlns:a16="http://schemas.microsoft.com/office/drawing/2014/main" id="{56157887-B659-DAFC-DD3D-26B3C41E02BB}"/>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27" name="Gerader Verbinder 26">
              <a:extLst>
                <a:ext uri="{FF2B5EF4-FFF2-40B4-BE49-F238E27FC236}">
                  <a16:creationId xmlns:a16="http://schemas.microsoft.com/office/drawing/2014/main" id="{3F895BE4-45FE-1DB3-BA15-3BD00B42B8C4}"/>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469C3F4F-57CE-28C9-AE13-2AB2D549697D}"/>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2" name="Gruppieren 191">
            <a:extLst>
              <a:ext uri="{FF2B5EF4-FFF2-40B4-BE49-F238E27FC236}">
                <a16:creationId xmlns:a16="http://schemas.microsoft.com/office/drawing/2014/main" id="{1BA20C28-79F2-9738-9E50-6E0E9750D059}"/>
              </a:ext>
              <a:ext uri="{C183D7F6-B498-43B3-948B-1728B52AA6E4}">
                <adec:decorative xmlns:adec="http://schemas.microsoft.com/office/drawing/2017/decorative" val="1"/>
              </a:ext>
            </a:extLst>
          </p:cNvPr>
          <p:cNvGrpSpPr/>
          <p:nvPr/>
        </p:nvGrpSpPr>
        <p:grpSpPr bwMode="gray">
          <a:xfrm>
            <a:off x="-254000" y="296863"/>
            <a:ext cx="144000" cy="6300787"/>
            <a:chOff x="0" y="296863"/>
            <a:chExt cx="12192000" cy="6300787"/>
          </a:xfrm>
        </p:grpSpPr>
        <p:cxnSp>
          <p:nvCxnSpPr>
            <p:cNvPr id="193" name="Gerader Verbinder 192">
              <a:extLst>
                <a:ext uri="{FF2B5EF4-FFF2-40B4-BE49-F238E27FC236}">
                  <a16:creationId xmlns:a16="http://schemas.microsoft.com/office/drawing/2014/main" id="{8D63515B-3B43-AB26-E9E3-89C8659B427A}"/>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4" name="Gerader Verbinder 193">
              <a:extLst>
                <a:ext uri="{FF2B5EF4-FFF2-40B4-BE49-F238E27FC236}">
                  <a16:creationId xmlns:a16="http://schemas.microsoft.com/office/drawing/2014/main" id="{99C20835-E9FB-1935-9D61-D84D83233FF2}"/>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3BA779B9-F1CD-F5A8-F03D-DC78B400A773}"/>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7420CD6B-0A6A-D11E-66AF-E051F2E7635C}"/>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D48DE708-1895-C519-B9D6-126F977B7AA2}"/>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D6967E30-C443-00CF-A7BA-79D0E2C404EC}"/>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9AE451F8-C42C-4721-59C0-479232D81537}"/>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0" name="Gruppieren 199">
            <a:extLst>
              <a:ext uri="{FF2B5EF4-FFF2-40B4-BE49-F238E27FC236}">
                <a16:creationId xmlns:a16="http://schemas.microsoft.com/office/drawing/2014/main" id="{DA2D2EB0-948B-927A-7662-FE166F488140}"/>
              </a:ext>
              <a:ext uri="{C183D7F6-B498-43B3-948B-1728B52AA6E4}">
                <adec:decorative xmlns:adec="http://schemas.microsoft.com/office/drawing/2017/decorative" val="1"/>
              </a:ext>
            </a:extLst>
          </p:cNvPr>
          <p:cNvGrpSpPr/>
          <p:nvPr/>
        </p:nvGrpSpPr>
        <p:grpSpPr bwMode="gray">
          <a:xfrm>
            <a:off x="12301940" y="296863"/>
            <a:ext cx="144000" cy="6300787"/>
            <a:chOff x="0" y="296863"/>
            <a:chExt cx="12192000" cy="6300787"/>
          </a:xfrm>
        </p:grpSpPr>
        <p:cxnSp>
          <p:nvCxnSpPr>
            <p:cNvPr id="201" name="Gerader Verbinder 200">
              <a:extLst>
                <a:ext uri="{FF2B5EF4-FFF2-40B4-BE49-F238E27FC236}">
                  <a16:creationId xmlns:a16="http://schemas.microsoft.com/office/drawing/2014/main" id="{FE70C339-172E-1446-E7A4-86796BD7D2CD}"/>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EC6DEAAA-937C-5CE7-372C-51DF31EFC475}"/>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609A464F-0F7E-1105-294A-F88EF6A444F8}"/>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1C4CEF7C-D076-B3CC-4BD9-121DB82AC517}"/>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E8E63755-61F0-E89C-5474-F1EB8B96F83C}"/>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069519D7-EF0B-1C42-8342-B4685D57BA81}"/>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80048A09-0E4B-F0BE-508B-4F79BBFC26A7}"/>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14354031"/>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3 Spalten mit Bilder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2257432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3456347" cy="169277"/>
          </a:xfrm>
          <a:noFill/>
        </p:spPr>
        <p:txBody>
          <a:bodyPr wrap="square" lIns="0" tIns="0" rIns="0" bIns="0" anchor="ctr">
            <a:noAutofit/>
          </a:bodyPr>
          <a:lstStyle>
            <a:lvl1pPr rtl="0">
              <a:defRPr sz="1100" b="0">
                <a:solidFill>
                  <a:schemeClr val="tx1"/>
                </a:solidFill>
              </a:defRPr>
            </a:lvl1pPr>
          </a:lstStyle>
          <a:p>
            <a:pPr lvl="0"/>
            <a:r>
              <a:rPr lang="de-DE" dirty="0" err="1"/>
              <a:t>Subtitle</a:t>
            </a:r>
            <a:r>
              <a:rPr lang="de-DE" dirty="0"/>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4"/>
            <a:ext cx="3456347" cy="2880350"/>
          </a:xfrm>
        </p:spPr>
        <p:txBody>
          <a:bodyPr vert="horz">
            <a:noAutofit/>
          </a:bodyPr>
          <a:lstStyle>
            <a:lvl1pPr rtl="0">
              <a:defRPr sz="4000"/>
            </a:lvl1pPr>
          </a:lstStyle>
          <a:p>
            <a:r>
              <a:rPr lang="de-DE"/>
              <a:t>Mastertitelformat bearbeiten</a:t>
            </a:r>
            <a:endParaRPr lang="de-DE" dirty="0"/>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9" y="3933028"/>
            <a:ext cx="3455927" cy="2159798"/>
          </a:xfrm>
        </p:spPr>
        <p:txBody>
          <a:bodyPr/>
          <a:lstStyle>
            <a:lvl1pPr rtl="0">
              <a:defRPr b="0">
                <a:latin typeface="+mn-lt"/>
              </a:defRPr>
            </a:lvl1pPr>
            <a:lvl2pPr marL="0" indent="0" rtl="0">
              <a:buNone/>
              <a:defRPr b="0">
                <a:latin typeface="+mn-lt"/>
              </a:defRPr>
            </a:lvl2pPr>
            <a:lvl3pPr marL="216000" rtl="0">
              <a:defRPr b="0">
                <a:latin typeface="+mn-lt"/>
              </a:defRPr>
            </a:lvl3pPr>
          </a:lstStyle>
          <a:p>
            <a:pPr lvl="0"/>
            <a:r>
              <a:rPr lang="de-DE"/>
              <a:t>Mastertextformat bearbeiten</a:t>
            </a:r>
          </a:p>
          <a:p>
            <a:pPr lvl="1"/>
            <a:r>
              <a:rPr lang="de-DE"/>
              <a:t>Zweite Ebene</a:t>
            </a:r>
          </a:p>
          <a:p>
            <a:pPr lvl="2"/>
            <a:r>
              <a:rPr lang="de-DE"/>
              <a:t>Dritte Ebene</a:t>
            </a:r>
          </a:p>
        </p:txBody>
      </p:sp>
      <p:sp>
        <p:nvSpPr>
          <p:cNvPr id="117" name="Bildplatzhalter 116" descr="Dreispaltiges Layout mit zwei Bildern und drei Textboxen. Links oben ein großer Titel, darunter eine Textbox. In der mittleren und rechten Spalte jeweils ein änderbares Bild, darunter jeweils eine Textbox. Dies ist das mittlere Bild.">
            <a:extLst>
              <a:ext uri="{FF2B5EF4-FFF2-40B4-BE49-F238E27FC236}">
                <a16:creationId xmlns:a16="http://schemas.microsoft.com/office/drawing/2014/main" id="{9D5C2B19-DABE-822C-8F3C-89F9CFD1D62D}"/>
              </a:ext>
            </a:extLst>
          </p:cNvPr>
          <p:cNvSpPr>
            <a:spLocks noGrp="1"/>
          </p:cNvSpPr>
          <p:nvPr>
            <p:ph type="pic" sz="quarter" idx="16"/>
          </p:nvPr>
        </p:nvSpPr>
        <p:spPr bwMode="gray">
          <a:xfrm>
            <a:off x="4511859" y="1362076"/>
            <a:ext cx="3456353" cy="2138988"/>
          </a:xfrm>
          <a:custGeom>
            <a:avLst/>
            <a:gdLst>
              <a:gd name="connsiteX0" fmla="*/ 215995 w 3456353"/>
              <a:gd name="connsiteY0" fmla="*/ 0 h 2138988"/>
              <a:gd name="connsiteX1" fmla="*/ 3240358 w 3456353"/>
              <a:gd name="connsiteY1" fmla="*/ 0 h 2138988"/>
              <a:gd name="connsiteX2" fmla="*/ 3456353 w 3456353"/>
              <a:gd name="connsiteY2" fmla="*/ 215995 h 2138988"/>
              <a:gd name="connsiteX3" fmla="*/ 3456353 w 3456353"/>
              <a:gd name="connsiteY3" fmla="*/ 1922993 h 2138988"/>
              <a:gd name="connsiteX4" fmla="*/ 3240358 w 3456353"/>
              <a:gd name="connsiteY4" fmla="*/ 2138988 h 2138988"/>
              <a:gd name="connsiteX5" fmla="*/ 215995 w 3456353"/>
              <a:gd name="connsiteY5" fmla="*/ 2138988 h 2138988"/>
              <a:gd name="connsiteX6" fmla="*/ 0 w 3456353"/>
              <a:gd name="connsiteY6" fmla="*/ 1922993 h 2138988"/>
              <a:gd name="connsiteX7" fmla="*/ 0 w 3456353"/>
              <a:gd name="connsiteY7" fmla="*/ 215995 h 2138988"/>
              <a:gd name="connsiteX8" fmla="*/ 215995 w 3456353"/>
              <a:gd name="connsiteY8" fmla="*/ 0 h 21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6353" h="2138988">
                <a:moveTo>
                  <a:pt x="215995" y="0"/>
                </a:moveTo>
                <a:lnTo>
                  <a:pt x="3240358" y="0"/>
                </a:lnTo>
                <a:cubicBezTo>
                  <a:pt x="3359649" y="0"/>
                  <a:pt x="3456353" y="96704"/>
                  <a:pt x="3456353" y="215995"/>
                </a:cubicBezTo>
                <a:lnTo>
                  <a:pt x="3456353" y="1922993"/>
                </a:lnTo>
                <a:cubicBezTo>
                  <a:pt x="3456353" y="2042284"/>
                  <a:pt x="3359649" y="2138988"/>
                  <a:pt x="3240358" y="2138988"/>
                </a:cubicBezTo>
                <a:lnTo>
                  <a:pt x="215995" y="2138988"/>
                </a:lnTo>
                <a:cubicBezTo>
                  <a:pt x="96704" y="2138988"/>
                  <a:pt x="0" y="2042284"/>
                  <a:pt x="0" y="1922993"/>
                </a:cubicBezTo>
                <a:lnTo>
                  <a:pt x="0" y="215995"/>
                </a:lnTo>
                <a:cubicBezTo>
                  <a:pt x="0" y="96704"/>
                  <a:pt x="96704" y="0"/>
                  <a:pt x="215995" y="0"/>
                </a:cubicBez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7" name="Textplatzhalter 6">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4511860" y="3933028"/>
            <a:ext cx="3456771" cy="2159798"/>
          </a:xfrm>
        </p:spPr>
        <p:txBody>
          <a:bodyPr/>
          <a:lstStyle>
            <a:lvl1pPr rtl="0">
              <a:defRPr b="0">
                <a:latin typeface="+mn-lt"/>
              </a:defRPr>
            </a:lvl1pPr>
            <a:lvl2pPr marL="0" indent="0" rtl="0">
              <a:buNone/>
              <a:defRPr b="0">
                <a:latin typeface="+mn-lt"/>
              </a:defRPr>
            </a:lvl2pPr>
            <a:lvl3pPr marL="216000" rtl="0">
              <a:defRPr b="0">
                <a:latin typeface="+mn-lt"/>
              </a:defRPr>
            </a:lvl3pPr>
          </a:lstStyle>
          <a:p>
            <a:pPr lvl="0"/>
            <a:r>
              <a:rPr lang="de-DE"/>
              <a:t>Mastertextformat bearbeiten</a:t>
            </a:r>
          </a:p>
          <a:p>
            <a:pPr lvl="1"/>
            <a:r>
              <a:rPr lang="de-DE"/>
              <a:t>Zweite Ebene</a:t>
            </a:r>
          </a:p>
          <a:p>
            <a:pPr lvl="2"/>
            <a:r>
              <a:rPr lang="de-DE"/>
              <a:t>Dritte Ebene</a:t>
            </a:r>
          </a:p>
        </p:txBody>
      </p:sp>
      <p:sp>
        <p:nvSpPr>
          <p:cNvPr id="118" name="Bildplatzhalter 117" descr="Dies ist das rechte Bild.">
            <a:extLst>
              <a:ext uri="{FF2B5EF4-FFF2-40B4-BE49-F238E27FC236}">
                <a16:creationId xmlns:a16="http://schemas.microsoft.com/office/drawing/2014/main" id="{A91CF5A0-04E0-B185-BDC7-3E99D8F8AB6A}"/>
              </a:ext>
            </a:extLst>
          </p:cNvPr>
          <p:cNvSpPr>
            <a:spLocks noGrp="1"/>
          </p:cNvSpPr>
          <p:nvPr>
            <p:ph type="pic" sz="quarter" idx="17"/>
          </p:nvPr>
        </p:nvSpPr>
        <p:spPr bwMode="gray">
          <a:xfrm>
            <a:off x="8400255" y="1362076"/>
            <a:ext cx="3456781" cy="2138988"/>
          </a:xfrm>
          <a:custGeom>
            <a:avLst/>
            <a:gdLst>
              <a:gd name="connsiteX0" fmla="*/ 215995 w 3456781"/>
              <a:gd name="connsiteY0" fmla="*/ 0 h 2138988"/>
              <a:gd name="connsiteX1" fmla="*/ 3240786 w 3456781"/>
              <a:gd name="connsiteY1" fmla="*/ 0 h 2138988"/>
              <a:gd name="connsiteX2" fmla="*/ 3456781 w 3456781"/>
              <a:gd name="connsiteY2" fmla="*/ 215995 h 2138988"/>
              <a:gd name="connsiteX3" fmla="*/ 3456781 w 3456781"/>
              <a:gd name="connsiteY3" fmla="*/ 1922993 h 2138988"/>
              <a:gd name="connsiteX4" fmla="*/ 3240786 w 3456781"/>
              <a:gd name="connsiteY4" fmla="*/ 2138988 h 2138988"/>
              <a:gd name="connsiteX5" fmla="*/ 215995 w 3456781"/>
              <a:gd name="connsiteY5" fmla="*/ 2138988 h 2138988"/>
              <a:gd name="connsiteX6" fmla="*/ 0 w 3456781"/>
              <a:gd name="connsiteY6" fmla="*/ 1922993 h 2138988"/>
              <a:gd name="connsiteX7" fmla="*/ 0 w 3456781"/>
              <a:gd name="connsiteY7" fmla="*/ 215995 h 2138988"/>
              <a:gd name="connsiteX8" fmla="*/ 215995 w 3456781"/>
              <a:gd name="connsiteY8" fmla="*/ 0 h 21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6781" h="2138988">
                <a:moveTo>
                  <a:pt x="215995" y="0"/>
                </a:moveTo>
                <a:lnTo>
                  <a:pt x="3240786" y="0"/>
                </a:lnTo>
                <a:cubicBezTo>
                  <a:pt x="3360077" y="0"/>
                  <a:pt x="3456781" y="96704"/>
                  <a:pt x="3456781" y="215995"/>
                </a:cubicBezTo>
                <a:lnTo>
                  <a:pt x="3456781" y="1922993"/>
                </a:lnTo>
                <a:cubicBezTo>
                  <a:pt x="3456781" y="2042284"/>
                  <a:pt x="3360077" y="2138988"/>
                  <a:pt x="3240786" y="2138988"/>
                </a:cubicBezTo>
                <a:lnTo>
                  <a:pt x="215995" y="2138988"/>
                </a:lnTo>
                <a:cubicBezTo>
                  <a:pt x="96704" y="2138988"/>
                  <a:pt x="0" y="2042284"/>
                  <a:pt x="0" y="1922993"/>
                </a:cubicBezTo>
                <a:lnTo>
                  <a:pt x="0" y="215995"/>
                </a:lnTo>
                <a:cubicBezTo>
                  <a:pt x="0" y="96704"/>
                  <a:pt x="96704" y="0"/>
                  <a:pt x="215995" y="0"/>
                </a:cubicBez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4" name="Textplatzhalter 3">
            <a:extLst>
              <a:ext uri="{FF2B5EF4-FFF2-40B4-BE49-F238E27FC236}">
                <a16:creationId xmlns:a16="http://schemas.microsoft.com/office/drawing/2014/main" id="{B3589477-55C5-26BE-8AA6-D6C317AE70AC}"/>
              </a:ext>
            </a:extLst>
          </p:cNvPr>
          <p:cNvSpPr>
            <a:spLocks noGrp="1"/>
          </p:cNvSpPr>
          <p:nvPr>
            <p:ph type="body" sz="quarter" idx="15"/>
          </p:nvPr>
        </p:nvSpPr>
        <p:spPr bwMode="gray">
          <a:xfrm>
            <a:off x="8400256" y="3933028"/>
            <a:ext cx="3456781" cy="2159798"/>
          </a:xfrm>
        </p:spPr>
        <p:txBody>
          <a:bodyPr/>
          <a:lstStyle>
            <a:lvl1pPr rtl="0">
              <a:defRPr b="0">
                <a:latin typeface="+mn-lt"/>
              </a:defRPr>
            </a:lvl1pPr>
            <a:lvl2pPr marL="0" indent="0" rtl="0">
              <a:buNone/>
              <a:defRPr b="0">
                <a:latin typeface="+mn-lt"/>
              </a:defRPr>
            </a:lvl2pPr>
            <a:lvl3pPr marL="216000" rtl="0">
              <a:defRPr b="0">
                <a:latin typeface="+mn-lt"/>
              </a:defRPr>
            </a:lvl3pPr>
          </a:lstStyle>
          <a:p>
            <a:pPr lvl="0"/>
            <a:r>
              <a:rPr lang="de-DE"/>
              <a:t>Mastertextformat bearbeiten</a:t>
            </a:r>
          </a:p>
          <a:p>
            <a:pPr lvl="1"/>
            <a:r>
              <a:rPr lang="de-DE"/>
              <a:t>Zweite Ebene</a:t>
            </a:r>
          </a:p>
          <a:p>
            <a:pPr lvl="2"/>
            <a:r>
              <a:rPr lang="de-DE"/>
              <a:t>Drit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endParaRPr lang="en-US"/>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C7D046C8-03B9-4997-9490-81EAE2ED7C49}" type="slidenum">
              <a:rPr lang="en-US" smtClean="0"/>
              <a:t>‹Nr.›</a:t>
            </a:fld>
            <a:endParaRPr lang="en-US"/>
          </a:p>
        </p:txBody>
      </p:sp>
      <p:pic>
        <p:nvPicPr>
          <p:cNvPr id="11" name="Grafik 10">
            <a:extLst>
              <a:ext uri="{FF2B5EF4-FFF2-40B4-BE49-F238E27FC236}">
                <a16:creationId xmlns:a16="http://schemas.microsoft.com/office/drawing/2014/main" id="{18DDB0B6-6024-EE63-F81C-9D6A387E6BAA}"/>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grpSp>
        <p:nvGrpSpPr>
          <p:cNvPr id="16" name="Gruppieren 15">
            <a:extLst>
              <a:ext uri="{FF2B5EF4-FFF2-40B4-BE49-F238E27FC236}">
                <a16:creationId xmlns:a16="http://schemas.microsoft.com/office/drawing/2014/main" id="{94E373BD-A210-48FB-0330-A62ADC2294C8}"/>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17" name="Gerader Verbinder 16">
              <a:extLst>
                <a:ext uri="{FF2B5EF4-FFF2-40B4-BE49-F238E27FC236}">
                  <a16:creationId xmlns:a16="http://schemas.microsoft.com/office/drawing/2014/main" id="{143AEAFB-896C-623B-064D-2A1D2F4A248F}"/>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05DA5D7-6D8C-787F-DCA9-6D12E29F238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7" name="Gruppieren 26">
            <a:extLst>
              <a:ext uri="{FF2B5EF4-FFF2-40B4-BE49-F238E27FC236}">
                <a16:creationId xmlns:a16="http://schemas.microsoft.com/office/drawing/2014/main" id="{13C492C9-1DE9-2543-19F4-F0B3A243D386}"/>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28" name="Gerader Verbinder 27">
              <a:extLst>
                <a:ext uri="{FF2B5EF4-FFF2-40B4-BE49-F238E27FC236}">
                  <a16:creationId xmlns:a16="http://schemas.microsoft.com/office/drawing/2014/main" id="{F55A8800-6C3B-5E27-A87D-35AFFB8A531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F94D55FF-CAC9-7213-88F4-0873CC693DB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6" name="Gruppieren 195">
            <a:extLst>
              <a:ext uri="{FF2B5EF4-FFF2-40B4-BE49-F238E27FC236}">
                <a16:creationId xmlns:a16="http://schemas.microsoft.com/office/drawing/2014/main" id="{AE37D6E0-CB33-67A9-50BE-7308C98FBA21}"/>
              </a:ext>
              <a:ext uri="{C183D7F6-B498-43B3-948B-1728B52AA6E4}">
                <adec:decorative xmlns:adec="http://schemas.microsoft.com/office/drawing/2017/decorative" val="1"/>
              </a:ext>
            </a:extLst>
          </p:cNvPr>
          <p:cNvGrpSpPr/>
          <p:nvPr/>
        </p:nvGrpSpPr>
        <p:grpSpPr bwMode="gray">
          <a:xfrm>
            <a:off x="-254000" y="296863"/>
            <a:ext cx="144000" cy="6300787"/>
            <a:chOff x="0" y="296863"/>
            <a:chExt cx="12192000" cy="6300787"/>
          </a:xfrm>
        </p:grpSpPr>
        <p:cxnSp>
          <p:nvCxnSpPr>
            <p:cNvPr id="197" name="Gerader Verbinder 196">
              <a:extLst>
                <a:ext uri="{FF2B5EF4-FFF2-40B4-BE49-F238E27FC236}">
                  <a16:creationId xmlns:a16="http://schemas.microsoft.com/office/drawing/2014/main" id="{64B2C7E9-DB90-68A2-6932-6B65EF8801E8}"/>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939AB7D2-9D21-C89D-9DC5-AD442C26D73A}"/>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5E095254-7DB8-B32E-6FAB-1F4F656A4ED6}"/>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248EF858-4C0E-A705-4453-A433ABF81D12}"/>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666B404F-95C8-B077-3AB8-06EA3F5D0290}"/>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E48A5C6D-E38D-D5FB-814C-2D6E086F4827}"/>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08B4C178-F535-C4C2-04B7-C9F78FED80A7}"/>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4" name="Gruppieren 203">
            <a:extLst>
              <a:ext uri="{FF2B5EF4-FFF2-40B4-BE49-F238E27FC236}">
                <a16:creationId xmlns:a16="http://schemas.microsoft.com/office/drawing/2014/main" id="{D327A1F8-1AE0-83D5-5569-9F22A6B122E8}"/>
              </a:ext>
              <a:ext uri="{C183D7F6-B498-43B3-948B-1728B52AA6E4}">
                <adec:decorative xmlns:adec="http://schemas.microsoft.com/office/drawing/2017/decorative" val="1"/>
              </a:ext>
            </a:extLst>
          </p:cNvPr>
          <p:cNvGrpSpPr/>
          <p:nvPr/>
        </p:nvGrpSpPr>
        <p:grpSpPr bwMode="gray">
          <a:xfrm>
            <a:off x="12301940" y="296863"/>
            <a:ext cx="144000" cy="6300787"/>
            <a:chOff x="0" y="296863"/>
            <a:chExt cx="12192000" cy="6300787"/>
          </a:xfrm>
        </p:grpSpPr>
        <p:cxnSp>
          <p:nvCxnSpPr>
            <p:cNvPr id="205" name="Gerader Verbinder 204">
              <a:extLst>
                <a:ext uri="{FF2B5EF4-FFF2-40B4-BE49-F238E27FC236}">
                  <a16:creationId xmlns:a16="http://schemas.microsoft.com/office/drawing/2014/main" id="{25173145-014F-B2BB-D4E7-FF72C2AC8BB0}"/>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92B88E33-C9FD-0D1B-283A-E32F0A893868}"/>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E382BA12-42DB-C8B4-6497-C599AEDEC461}"/>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4B219BC5-78FC-DE84-3B02-5D756B8731EE}"/>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660354FD-0B89-AFBB-1723-F9409138BAD2}"/>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0" name="Gerader Verbinder 209">
              <a:extLst>
                <a:ext uri="{FF2B5EF4-FFF2-40B4-BE49-F238E27FC236}">
                  <a16:creationId xmlns:a16="http://schemas.microsoft.com/office/drawing/2014/main" id="{912A9A16-9510-4314-1982-3B4F6D3198CA}"/>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1" name="Gerader Verbinder 210">
              <a:extLst>
                <a:ext uri="{FF2B5EF4-FFF2-40B4-BE49-F238E27FC236}">
                  <a16:creationId xmlns:a16="http://schemas.microsoft.com/office/drawing/2014/main" id="{F3B22BC5-BAB1-30F5-E4A4-024AD8B96070}"/>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22281514"/>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2 Spalten mit Bilder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4032342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3456347"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3456347" cy="2880351"/>
          </a:xfrm>
        </p:spPr>
        <p:txBody>
          <a:bodyPr vert="horz">
            <a:noAutofit/>
          </a:bodyPr>
          <a:lstStyle>
            <a:lvl1pPr rtl="0">
              <a:defRPr sz="4000"/>
            </a:lvl1pPr>
          </a:lstStyle>
          <a:p>
            <a:r>
              <a:rPr lang="de-DE"/>
              <a:t>Mastertitelformat bearbeiten</a:t>
            </a:r>
            <a:endParaRPr lang="de-DE" dirty="0"/>
          </a:p>
        </p:txBody>
      </p:sp>
      <p:sp>
        <p:nvSpPr>
          <p:cNvPr id="116" name="Bildplatzhalter 115" descr="Dreispaltiges Layout mit zwei Bildern und einer Textbox. Links oben ein großer Titel. In der mittleren Spalte ein großes änderbares Bild. In der rechten Spalte ein kleineres änderbares Bild, darunter eine Textbox. Dies ist das mittlere Bild.">
            <a:extLst>
              <a:ext uri="{FF2B5EF4-FFF2-40B4-BE49-F238E27FC236}">
                <a16:creationId xmlns:a16="http://schemas.microsoft.com/office/drawing/2014/main" id="{FEFFA24E-B115-921F-79AC-EED42D946BB8}"/>
              </a:ext>
            </a:extLst>
          </p:cNvPr>
          <p:cNvSpPr>
            <a:spLocks noGrp="1"/>
          </p:cNvSpPr>
          <p:nvPr>
            <p:ph type="pic" sz="quarter" idx="16"/>
          </p:nvPr>
        </p:nvSpPr>
        <p:spPr bwMode="gray">
          <a:xfrm>
            <a:off x="4511860" y="1362076"/>
            <a:ext cx="3456351" cy="4730750"/>
          </a:xfrm>
          <a:custGeom>
            <a:avLst/>
            <a:gdLst>
              <a:gd name="connsiteX0" fmla="*/ 215987 w 3456351"/>
              <a:gd name="connsiteY0" fmla="*/ 0 h 4730750"/>
              <a:gd name="connsiteX1" fmla="*/ 3240364 w 3456351"/>
              <a:gd name="connsiteY1" fmla="*/ 0 h 4730750"/>
              <a:gd name="connsiteX2" fmla="*/ 3456351 w 3456351"/>
              <a:gd name="connsiteY2" fmla="*/ 215987 h 4730750"/>
              <a:gd name="connsiteX3" fmla="*/ 3456351 w 3456351"/>
              <a:gd name="connsiteY3" fmla="*/ 4514763 h 4730750"/>
              <a:gd name="connsiteX4" fmla="*/ 3240364 w 3456351"/>
              <a:gd name="connsiteY4" fmla="*/ 4730750 h 4730750"/>
              <a:gd name="connsiteX5" fmla="*/ 215987 w 3456351"/>
              <a:gd name="connsiteY5" fmla="*/ 4730750 h 4730750"/>
              <a:gd name="connsiteX6" fmla="*/ 0 w 3456351"/>
              <a:gd name="connsiteY6" fmla="*/ 4514763 h 4730750"/>
              <a:gd name="connsiteX7" fmla="*/ 0 w 3456351"/>
              <a:gd name="connsiteY7" fmla="*/ 215987 h 4730750"/>
              <a:gd name="connsiteX8" fmla="*/ 215987 w 3456351"/>
              <a:gd name="connsiteY8" fmla="*/ 0 h 473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6351" h="4730750">
                <a:moveTo>
                  <a:pt x="215987" y="0"/>
                </a:moveTo>
                <a:lnTo>
                  <a:pt x="3240364" y="0"/>
                </a:lnTo>
                <a:cubicBezTo>
                  <a:pt x="3359650" y="0"/>
                  <a:pt x="3456351" y="96701"/>
                  <a:pt x="3456351" y="215987"/>
                </a:cubicBezTo>
                <a:lnTo>
                  <a:pt x="3456351" y="4514763"/>
                </a:lnTo>
                <a:cubicBezTo>
                  <a:pt x="3456351" y="4634049"/>
                  <a:pt x="3359650" y="4730750"/>
                  <a:pt x="3240364" y="4730750"/>
                </a:cubicBezTo>
                <a:lnTo>
                  <a:pt x="215987" y="4730750"/>
                </a:lnTo>
                <a:cubicBezTo>
                  <a:pt x="96701" y="4730750"/>
                  <a:pt x="0" y="4634049"/>
                  <a:pt x="0" y="4514763"/>
                </a:cubicBezTo>
                <a:lnTo>
                  <a:pt x="0" y="215987"/>
                </a:lnTo>
                <a:cubicBezTo>
                  <a:pt x="0" y="96701"/>
                  <a:pt x="96701" y="0"/>
                  <a:pt x="215987" y="0"/>
                </a:cubicBez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115" name="Bildplatzhalter 114" descr="Dies ist das rechte Bild.">
            <a:extLst>
              <a:ext uri="{FF2B5EF4-FFF2-40B4-BE49-F238E27FC236}">
                <a16:creationId xmlns:a16="http://schemas.microsoft.com/office/drawing/2014/main" id="{BD88A33B-654C-6BAD-94F3-ABC9AE59D19F}"/>
              </a:ext>
            </a:extLst>
          </p:cNvPr>
          <p:cNvSpPr>
            <a:spLocks noGrp="1"/>
          </p:cNvSpPr>
          <p:nvPr>
            <p:ph type="pic" sz="quarter" idx="17"/>
          </p:nvPr>
        </p:nvSpPr>
        <p:spPr bwMode="gray">
          <a:xfrm>
            <a:off x="8400679" y="1362076"/>
            <a:ext cx="3456357" cy="2138988"/>
          </a:xfrm>
          <a:custGeom>
            <a:avLst/>
            <a:gdLst>
              <a:gd name="connsiteX0" fmla="*/ 215995 w 3456357"/>
              <a:gd name="connsiteY0" fmla="*/ 0 h 2138988"/>
              <a:gd name="connsiteX1" fmla="*/ 3240362 w 3456357"/>
              <a:gd name="connsiteY1" fmla="*/ 0 h 2138988"/>
              <a:gd name="connsiteX2" fmla="*/ 3456357 w 3456357"/>
              <a:gd name="connsiteY2" fmla="*/ 215995 h 2138988"/>
              <a:gd name="connsiteX3" fmla="*/ 3456357 w 3456357"/>
              <a:gd name="connsiteY3" fmla="*/ 1922993 h 2138988"/>
              <a:gd name="connsiteX4" fmla="*/ 3240362 w 3456357"/>
              <a:gd name="connsiteY4" fmla="*/ 2138988 h 2138988"/>
              <a:gd name="connsiteX5" fmla="*/ 215995 w 3456357"/>
              <a:gd name="connsiteY5" fmla="*/ 2138988 h 2138988"/>
              <a:gd name="connsiteX6" fmla="*/ 0 w 3456357"/>
              <a:gd name="connsiteY6" fmla="*/ 1922993 h 2138988"/>
              <a:gd name="connsiteX7" fmla="*/ 0 w 3456357"/>
              <a:gd name="connsiteY7" fmla="*/ 215995 h 2138988"/>
              <a:gd name="connsiteX8" fmla="*/ 215995 w 3456357"/>
              <a:gd name="connsiteY8" fmla="*/ 0 h 21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6357" h="2138988">
                <a:moveTo>
                  <a:pt x="215995" y="0"/>
                </a:moveTo>
                <a:lnTo>
                  <a:pt x="3240362" y="0"/>
                </a:lnTo>
                <a:cubicBezTo>
                  <a:pt x="3359653" y="0"/>
                  <a:pt x="3456357" y="96704"/>
                  <a:pt x="3456357" y="215995"/>
                </a:cubicBezTo>
                <a:lnTo>
                  <a:pt x="3456357" y="1922993"/>
                </a:lnTo>
                <a:cubicBezTo>
                  <a:pt x="3456357" y="2042284"/>
                  <a:pt x="3359653" y="2138988"/>
                  <a:pt x="3240362" y="2138988"/>
                </a:cubicBezTo>
                <a:lnTo>
                  <a:pt x="215995" y="2138988"/>
                </a:lnTo>
                <a:cubicBezTo>
                  <a:pt x="96704" y="2138988"/>
                  <a:pt x="0" y="2042284"/>
                  <a:pt x="0" y="1922993"/>
                </a:cubicBezTo>
                <a:lnTo>
                  <a:pt x="0" y="215995"/>
                </a:lnTo>
                <a:cubicBezTo>
                  <a:pt x="0" y="96704"/>
                  <a:pt x="96704" y="0"/>
                  <a:pt x="215995" y="0"/>
                </a:cubicBez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8400257" y="3933028"/>
            <a:ext cx="3456780" cy="2159798"/>
          </a:xfrm>
        </p:spPr>
        <p:txBody>
          <a:bodyPr/>
          <a:lstStyle>
            <a:lvl1pPr rtl="0">
              <a:defRPr b="0">
                <a:latin typeface="+mn-lt"/>
              </a:defRPr>
            </a:lvl1pPr>
            <a:lvl2pPr marL="0" indent="0" rtl="0">
              <a:buNone/>
              <a:defRPr>
                <a:latin typeface="+mn-lt"/>
              </a:defRPr>
            </a:lvl2pPr>
            <a:lvl3pPr marL="216000" rtl="0">
              <a:defRPr>
                <a:latin typeface="+mn-lt"/>
              </a:defRPr>
            </a:lvl3pPr>
          </a:lstStyle>
          <a:p>
            <a:pPr lvl="0"/>
            <a:r>
              <a:rPr lang="de-DE"/>
              <a:t>Mastertextformat bearbeiten</a:t>
            </a:r>
          </a:p>
          <a:p>
            <a:pPr lvl="1"/>
            <a:r>
              <a:rPr lang="de-DE"/>
              <a:t>Zweite Ebene</a:t>
            </a:r>
          </a:p>
          <a:p>
            <a:pPr lvl="2"/>
            <a:r>
              <a:rPr lang="de-DE"/>
              <a:t>Drit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endParaRPr lang="en-US"/>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C7D046C8-03B9-4997-9490-81EAE2ED7C49}" type="slidenum">
              <a:rPr lang="en-US" smtClean="0"/>
              <a:t>‹Nr.›</a:t>
            </a:fld>
            <a:endParaRPr lang="en-US"/>
          </a:p>
        </p:txBody>
      </p:sp>
      <p:pic>
        <p:nvPicPr>
          <p:cNvPr id="11" name="Grafik 10">
            <a:extLst>
              <a:ext uri="{FF2B5EF4-FFF2-40B4-BE49-F238E27FC236}">
                <a16:creationId xmlns:a16="http://schemas.microsoft.com/office/drawing/2014/main" id="{18DDB0B6-6024-EE63-F81C-9D6A387E6BAA}"/>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grpSp>
        <p:nvGrpSpPr>
          <p:cNvPr id="16" name="Gruppieren 15">
            <a:extLst>
              <a:ext uri="{FF2B5EF4-FFF2-40B4-BE49-F238E27FC236}">
                <a16:creationId xmlns:a16="http://schemas.microsoft.com/office/drawing/2014/main" id="{94E373BD-A210-48FB-0330-A62ADC2294C8}"/>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17" name="Gerader Verbinder 16">
              <a:extLst>
                <a:ext uri="{FF2B5EF4-FFF2-40B4-BE49-F238E27FC236}">
                  <a16:creationId xmlns:a16="http://schemas.microsoft.com/office/drawing/2014/main" id="{143AEAFB-896C-623B-064D-2A1D2F4A248F}"/>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05DA5D7-6D8C-787F-DCA9-6D12E29F238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7" name="Gruppieren 26">
            <a:extLst>
              <a:ext uri="{FF2B5EF4-FFF2-40B4-BE49-F238E27FC236}">
                <a16:creationId xmlns:a16="http://schemas.microsoft.com/office/drawing/2014/main" id="{13C492C9-1DE9-2543-19F4-F0B3A243D386}"/>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28" name="Gerader Verbinder 27">
              <a:extLst>
                <a:ext uri="{FF2B5EF4-FFF2-40B4-BE49-F238E27FC236}">
                  <a16:creationId xmlns:a16="http://schemas.microsoft.com/office/drawing/2014/main" id="{F55A8800-6C3B-5E27-A87D-35AFFB8A531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F94D55FF-CAC9-7213-88F4-0873CC693DB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4" name="Gruppieren 193">
            <a:extLst>
              <a:ext uri="{FF2B5EF4-FFF2-40B4-BE49-F238E27FC236}">
                <a16:creationId xmlns:a16="http://schemas.microsoft.com/office/drawing/2014/main" id="{489D6F4E-3D3F-73BA-7F58-E72CE133B300}"/>
              </a:ext>
              <a:ext uri="{C183D7F6-B498-43B3-948B-1728B52AA6E4}">
                <adec:decorative xmlns:adec="http://schemas.microsoft.com/office/drawing/2017/decorative" val="1"/>
              </a:ext>
            </a:extLst>
          </p:cNvPr>
          <p:cNvGrpSpPr/>
          <p:nvPr/>
        </p:nvGrpSpPr>
        <p:grpSpPr bwMode="gray">
          <a:xfrm>
            <a:off x="-254000" y="296863"/>
            <a:ext cx="144000" cy="6300787"/>
            <a:chOff x="0" y="296863"/>
            <a:chExt cx="12192000" cy="6300787"/>
          </a:xfrm>
        </p:grpSpPr>
        <p:cxnSp>
          <p:nvCxnSpPr>
            <p:cNvPr id="195" name="Gerader Verbinder 194">
              <a:extLst>
                <a:ext uri="{FF2B5EF4-FFF2-40B4-BE49-F238E27FC236}">
                  <a16:creationId xmlns:a16="http://schemas.microsoft.com/office/drawing/2014/main" id="{514B6F31-3983-B3CE-843C-A9F4E3C33933}"/>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88FC63F3-EE15-A067-3A08-32DFA67543A0}"/>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CB19517A-C964-5D5D-B0B2-785A9C4B7E5F}"/>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1D967DFA-4C9E-06D9-08E1-76C69BFFA6F5}"/>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C96AA835-CA65-DF6B-E8A3-074126C11E26}"/>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3EB54851-2DE0-8BFD-30EF-CD0400059DC7}"/>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9EAECAE7-9FD8-F8D1-8A6B-DC47A44CDAA5}"/>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2" name="Gruppieren 201">
            <a:extLst>
              <a:ext uri="{FF2B5EF4-FFF2-40B4-BE49-F238E27FC236}">
                <a16:creationId xmlns:a16="http://schemas.microsoft.com/office/drawing/2014/main" id="{CC938821-6834-4061-1ABF-6F6348DF4403}"/>
              </a:ext>
              <a:ext uri="{C183D7F6-B498-43B3-948B-1728B52AA6E4}">
                <adec:decorative xmlns:adec="http://schemas.microsoft.com/office/drawing/2017/decorative" val="1"/>
              </a:ext>
            </a:extLst>
          </p:cNvPr>
          <p:cNvGrpSpPr/>
          <p:nvPr/>
        </p:nvGrpSpPr>
        <p:grpSpPr bwMode="gray">
          <a:xfrm>
            <a:off x="12301940" y="296863"/>
            <a:ext cx="144000" cy="6300787"/>
            <a:chOff x="0" y="296863"/>
            <a:chExt cx="12192000" cy="6300787"/>
          </a:xfrm>
        </p:grpSpPr>
        <p:cxnSp>
          <p:nvCxnSpPr>
            <p:cNvPr id="203" name="Gerader Verbinder 202">
              <a:extLst>
                <a:ext uri="{FF2B5EF4-FFF2-40B4-BE49-F238E27FC236}">
                  <a16:creationId xmlns:a16="http://schemas.microsoft.com/office/drawing/2014/main" id="{626DB4AC-C497-2018-E1D0-B15DFC71C88E}"/>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FEFABE42-4274-B7B1-2908-6C01C1A47430}"/>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07923EB1-16D4-8092-D93E-64364672A830}"/>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7EE55FA5-9516-18AF-E196-2A0A78530CA2}"/>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B1BA0DA9-8D4A-9E5A-28AC-C934CF36506E}"/>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143699DA-CA7D-16B8-3933-B86A0CAC0C6C}"/>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5CD47C8A-68F6-41F2-F45B-3E683A45B745}"/>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52718903"/>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 Bilder mit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1080577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3456348"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4"/>
            <a:ext cx="3456348" cy="1798764"/>
          </a:xfrm>
        </p:spPr>
        <p:txBody>
          <a:bodyPr vert="horz">
            <a:noAutofit/>
          </a:bodyPr>
          <a:lstStyle>
            <a:lvl1pPr rtl="0">
              <a:defRPr sz="4000"/>
            </a:lvl1pPr>
          </a:lstStyle>
          <a:p>
            <a:r>
              <a:rPr lang="de-DE"/>
              <a:t>Mastertitelformat bearbeiten</a:t>
            </a:r>
            <a:endParaRPr lang="de-DE" dirty="0"/>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8" y="2853134"/>
            <a:ext cx="3456347" cy="3239692"/>
          </a:xfrm>
        </p:spPr>
        <p:txBody>
          <a:bodyPr/>
          <a:lstStyle>
            <a:lvl1pPr rtl="0">
              <a:defRPr b="0">
                <a:latin typeface="+mn-lt"/>
              </a:defRPr>
            </a:lvl1pPr>
            <a:lvl2pPr marL="0" indent="0" rtl="0">
              <a:buNone/>
              <a:defRPr>
                <a:latin typeface="+mn-lt"/>
              </a:defRPr>
            </a:lvl2pPr>
            <a:lvl3pPr marL="216000" rtl="0">
              <a:defRPr>
                <a:latin typeface="+mn-lt"/>
              </a:defRPr>
            </a:lvl3pPr>
          </a:lstStyle>
          <a:p>
            <a:pPr lvl="0"/>
            <a:r>
              <a:rPr lang="de-DE"/>
              <a:t>Mastertextformat bearbeiten</a:t>
            </a:r>
          </a:p>
          <a:p>
            <a:pPr lvl="1"/>
            <a:r>
              <a:rPr lang="de-DE"/>
              <a:t>Zweite Ebene</a:t>
            </a:r>
          </a:p>
          <a:p>
            <a:pPr lvl="2"/>
            <a:r>
              <a:rPr lang="de-DE"/>
              <a:t>Dritte Ebene</a:t>
            </a:r>
          </a:p>
        </p:txBody>
      </p:sp>
      <p:sp>
        <p:nvSpPr>
          <p:cNvPr id="115" name="Bildplatzhalter 114" descr="Zweigeteiltes Layout mit zwei Bildern und einer Textbox. Links oben ein großer Titel, darunter eine Textbox. Rechts ein großes änderbares Bild. Links davon überlappt ein kleines änderbares Bild das große Bild. Dies ist das große Bild rechts.">
            <a:extLst>
              <a:ext uri="{FF2B5EF4-FFF2-40B4-BE49-F238E27FC236}">
                <a16:creationId xmlns:a16="http://schemas.microsoft.com/office/drawing/2014/main" id="{7CF65C7C-431B-1AF4-03E9-78BEFCD80B09}"/>
              </a:ext>
            </a:extLst>
          </p:cNvPr>
          <p:cNvSpPr>
            <a:spLocks noGrp="1"/>
          </p:cNvSpPr>
          <p:nvPr>
            <p:ph type="pic" sz="quarter" idx="17"/>
          </p:nvPr>
        </p:nvSpPr>
        <p:spPr bwMode="gray">
          <a:xfrm>
            <a:off x="6888526" y="1362075"/>
            <a:ext cx="5303471" cy="4730751"/>
          </a:xfrm>
          <a:custGeom>
            <a:avLst/>
            <a:gdLst>
              <a:gd name="connsiteX0" fmla="*/ 4389071 w 5303471"/>
              <a:gd name="connsiteY0" fmla="*/ 0 h 4730751"/>
              <a:gd name="connsiteX1" fmla="*/ 5303471 w 5303471"/>
              <a:gd name="connsiteY1" fmla="*/ 0 h 4730751"/>
              <a:gd name="connsiteX2" fmla="*/ 5303471 w 5303471"/>
              <a:gd name="connsiteY2" fmla="*/ 216007 h 4730751"/>
              <a:gd name="connsiteX3" fmla="*/ 5303471 w 5303471"/>
              <a:gd name="connsiteY3" fmla="*/ 4514745 h 4730751"/>
              <a:gd name="connsiteX4" fmla="*/ 5303471 w 5303471"/>
              <a:gd name="connsiteY4" fmla="*/ 4730733 h 4730751"/>
              <a:gd name="connsiteX5" fmla="*/ 5087643 w 5303471"/>
              <a:gd name="connsiteY5" fmla="*/ 4730733 h 4730751"/>
              <a:gd name="connsiteX6" fmla="*/ 5087465 w 5303471"/>
              <a:gd name="connsiteY6" fmla="*/ 4730751 h 4730751"/>
              <a:gd name="connsiteX7" fmla="*/ 216006 w 5303471"/>
              <a:gd name="connsiteY7" fmla="*/ 4730751 h 4730751"/>
              <a:gd name="connsiteX8" fmla="*/ 0 w 5303471"/>
              <a:gd name="connsiteY8" fmla="*/ 4514745 h 4730751"/>
              <a:gd name="connsiteX9" fmla="*/ 0 w 5303471"/>
              <a:gd name="connsiteY9" fmla="*/ 216007 h 4730751"/>
              <a:gd name="connsiteX10" fmla="*/ 216006 w 5303471"/>
              <a:gd name="connsiteY10" fmla="*/ 1 h 4730751"/>
              <a:gd name="connsiteX11" fmla="*/ 4389071 w 5303471"/>
              <a:gd name="connsiteY11" fmla="*/ 1 h 473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03471" h="4730751">
                <a:moveTo>
                  <a:pt x="4389071" y="0"/>
                </a:moveTo>
                <a:lnTo>
                  <a:pt x="5303471" y="0"/>
                </a:lnTo>
                <a:lnTo>
                  <a:pt x="5303471" y="216007"/>
                </a:lnTo>
                <a:lnTo>
                  <a:pt x="5303471" y="4514745"/>
                </a:lnTo>
                <a:lnTo>
                  <a:pt x="5303471" y="4730733"/>
                </a:lnTo>
                <a:lnTo>
                  <a:pt x="5087643" y="4730733"/>
                </a:lnTo>
                <a:lnTo>
                  <a:pt x="5087465" y="4730751"/>
                </a:lnTo>
                <a:lnTo>
                  <a:pt x="216006" y="4730751"/>
                </a:lnTo>
                <a:cubicBezTo>
                  <a:pt x="96709" y="4730751"/>
                  <a:pt x="0" y="4634042"/>
                  <a:pt x="0" y="4514745"/>
                </a:cubicBezTo>
                <a:lnTo>
                  <a:pt x="0" y="216007"/>
                </a:lnTo>
                <a:cubicBezTo>
                  <a:pt x="0" y="96710"/>
                  <a:pt x="96709" y="1"/>
                  <a:pt x="216006" y="1"/>
                </a:cubicBezTo>
                <a:lnTo>
                  <a:pt x="4389071" y="1"/>
                </a:ln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15" name="Bildplatzhalter 14" descr="Dies ist das kleine Bild.">
            <a:extLst>
              <a:ext uri="{FF2B5EF4-FFF2-40B4-BE49-F238E27FC236}">
                <a16:creationId xmlns:a16="http://schemas.microsoft.com/office/drawing/2014/main" id="{17442453-1754-875C-3B79-1656AB8E5A7E}"/>
              </a:ext>
            </a:extLst>
          </p:cNvPr>
          <p:cNvSpPr>
            <a:spLocks noGrp="1"/>
          </p:cNvSpPr>
          <p:nvPr>
            <p:ph type="pic" sz="quarter" idx="16"/>
          </p:nvPr>
        </p:nvSpPr>
        <p:spPr bwMode="gray">
          <a:xfrm>
            <a:off x="4727882" y="2853133"/>
            <a:ext cx="2808286" cy="2591741"/>
          </a:xfrm>
          <a:prstGeom prst="roundRect">
            <a:avLst>
              <a:gd name="adj" fmla="val 8334"/>
            </a:avLst>
          </a:pr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endParaRPr lang="en-US"/>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C7D046C8-03B9-4997-9490-81EAE2ED7C49}" type="slidenum">
              <a:rPr lang="en-US" smtClean="0"/>
              <a:t>‹Nr.›</a:t>
            </a:fld>
            <a:endParaRPr lang="en-US"/>
          </a:p>
        </p:txBody>
      </p:sp>
      <p:pic>
        <p:nvPicPr>
          <p:cNvPr id="11" name="Grafik 10">
            <a:extLst>
              <a:ext uri="{FF2B5EF4-FFF2-40B4-BE49-F238E27FC236}">
                <a16:creationId xmlns:a16="http://schemas.microsoft.com/office/drawing/2014/main" id="{18DDB0B6-6024-EE63-F81C-9D6A387E6BAA}"/>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grpSp>
        <p:nvGrpSpPr>
          <p:cNvPr id="16" name="Gruppieren 15">
            <a:extLst>
              <a:ext uri="{FF2B5EF4-FFF2-40B4-BE49-F238E27FC236}">
                <a16:creationId xmlns:a16="http://schemas.microsoft.com/office/drawing/2014/main" id="{94E373BD-A210-48FB-0330-A62ADC2294C8}"/>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17" name="Gerader Verbinder 16">
              <a:extLst>
                <a:ext uri="{FF2B5EF4-FFF2-40B4-BE49-F238E27FC236}">
                  <a16:creationId xmlns:a16="http://schemas.microsoft.com/office/drawing/2014/main" id="{143AEAFB-896C-623B-064D-2A1D2F4A248F}"/>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05DA5D7-6D8C-787F-DCA9-6D12E29F238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7" name="Gruppieren 26">
            <a:extLst>
              <a:ext uri="{FF2B5EF4-FFF2-40B4-BE49-F238E27FC236}">
                <a16:creationId xmlns:a16="http://schemas.microsoft.com/office/drawing/2014/main" id="{13C492C9-1DE9-2543-19F4-F0B3A243D386}"/>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28" name="Gerader Verbinder 27">
              <a:extLst>
                <a:ext uri="{FF2B5EF4-FFF2-40B4-BE49-F238E27FC236}">
                  <a16:creationId xmlns:a16="http://schemas.microsoft.com/office/drawing/2014/main" id="{F55A8800-6C3B-5E27-A87D-35AFFB8A531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F94D55FF-CAC9-7213-88F4-0873CC693DB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3" name="Gruppieren 192">
            <a:extLst>
              <a:ext uri="{FF2B5EF4-FFF2-40B4-BE49-F238E27FC236}">
                <a16:creationId xmlns:a16="http://schemas.microsoft.com/office/drawing/2014/main" id="{CFC190BE-C025-07E9-8F3B-A5C0823667E9}"/>
              </a:ext>
              <a:ext uri="{C183D7F6-B498-43B3-948B-1728B52AA6E4}">
                <adec:decorative xmlns:adec="http://schemas.microsoft.com/office/drawing/2017/decorative" val="1"/>
              </a:ext>
            </a:extLst>
          </p:cNvPr>
          <p:cNvGrpSpPr/>
          <p:nvPr/>
        </p:nvGrpSpPr>
        <p:grpSpPr bwMode="gray">
          <a:xfrm>
            <a:off x="-254000" y="296863"/>
            <a:ext cx="144000" cy="6300787"/>
            <a:chOff x="0" y="296863"/>
            <a:chExt cx="12192000" cy="6300787"/>
          </a:xfrm>
        </p:grpSpPr>
        <p:cxnSp>
          <p:nvCxnSpPr>
            <p:cNvPr id="194" name="Gerader Verbinder 193">
              <a:extLst>
                <a:ext uri="{FF2B5EF4-FFF2-40B4-BE49-F238E27FC236}">
                  <a16:creationId xmlns:a16="http://schemas.microsoft.com/office/drawing/2014/main" id="{39E7FD98-1F5F-9389-6D98-E23881BC4C8D}"/>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3A8187C5-E9DF-116E-2082-4962145F9CA8}"/>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512C6319-7407-AA3F-B542-E65722D7EF2C}"/>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A28FABA8-2A59-455E-3E44-ED7B9778BB43}"/>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F7E6EC70-FB20-ED3B-9089-BAFCFFDD0786}"/>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A45894CC-ECCA-00A6-5B51-D42A72E19BAA}"/>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CF4F44B9-D646-2936-DF99-DE360CBB80C0}"/>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1" name="Gruppieren 200">
            <a:extLst>
              <a:ext uri="{FF2B5EF4-FFF2-40B4-BE49-F238E27FC236}">
                <a16:creationId xmlns:a16="http://schemas.microsoft.com/office/drawing/2014/main" id="{147157ED-F86B-4A76-DF44-6078377EAF4E}"/>
              </a:ext>
              <a:ext uri="{C183D7F6-B498-43B3-948B-1728B52AA6E4}">
                <adec:decorative xmlns:adec="http://schemas.microsoft.com/office/drawing/2017/decorative" val="1"/>
              </a:ext>
            </a:extLst>
          </p:cNvPr>
          <p:cNvGrpSpPr/>
          <p:nvPr/>
        </p:nvGrpSpPr>
        <p:grpSpPr bwMode="gray">
          <a:xfrm>
            <a:off x="12301940" y="296863"/>
            <a:ext cx="144000" cy="6300787"/>
            <a:chOff x="0" y="296863"/>
            <a:chExt cx="12192000" cy="6300787"/>
          </a:xfrm>
        </p:grpSpPr>
        <p:cxnSp>
          <p:nvCxnSpPr>
            <p:cNvPr id="202" name="Gerader Verbinder 201">
              <a:extLst>
                <a:ext uri="{FF2B5EF4-FFF2-40B4-BE49-F238E27FC236}">
                  <a16:creationId xmlns:a16="http://schemas.microsoft.com/office/drawing/2014/main" id="{679A183C-CD11-4367-E24A-7CD26B3E633A}"/>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260391BA-A2AF-7831-C79D-CF37A3BF83D9}"/>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A48559C3-A3ED-0148-D4AA-1BC9BEDC54C3}"/>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F2F86103-863F-DEF0-775E-8A94EAA8326F}"/>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B5AB6C27-248A-8110-7E6F-E1914FC7BD94}"/>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A8E0EB02-0F3F-19C4-A9B1-97E06CA2D83F}"/>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99A84C1C-967E-59B8-566D-8090ECFC1C48}"/>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7419790"/>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ild und Aufzählun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3546461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9600"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9600" cy="738664"/>
          </a:xfrm>
        </p:spPr>
        <p:txBody>
          <a:bodyPr vert="horz"/>
          <a:lstStyle>
            <a:lvl1pPr rtl="0">
              <a:defRPr/>
            </a:lvl1pPr>
          </a:lstStyle>
          <a:p>
            <a:r>
              <a:rPr lang="de-DE"/>
              <a:t>Mastertitelformat bearbeiten</a:t>
            </a:r>
            <a:endParaRPr lang="de-DE" dirty="0"/>
          </a:p>
        </p:txBody>
      </p:sp>
      <p:sp>
        <p:nvSpPr>
          <p:cNvPr id="112" name="Bildplatzhalter 111" descr="Zweigeteiltes Layout mit einem Bild links und einer Textbox rechts daneben. Das Bild ist änderbar.">
            <a:extLst>
              <a:ext uri="{FF2B5EF4-FFF2-40B4-BE49-F238E27FC236}">
                <a16:creationId xmlns:a16="http://schemas.microsoft.com/office/drawing/2014/main" id="{A07BD216-7CD4-49F3-6495-F6DEE6A0DB8A}"/>
              </a:ext>
            </a:extLst>
          </p:cNvPr>
          <p:cNvSpPr>
            <a:spLocks noGrp="1"/>
          </p:cNvSpPr>
          <p:nvPr>
            <p:ph type="pic" sz="quarter" idx="14"/>
          </p:nvPr>
        </p:nvSpPr>
        <p:spPr bwMode="gray">
          <a:xfrm>
            <a:off x="623888" y="1773240"/>
            <a:ext cx="7344743" cy="4319586"/>
          </a:xfrm>
          <a:custGeom>
            <a:avLst/>
            <a:gdLst>
              <a:gd name="connsiteX0" fmla="*/ 0 w 7344743"/>
              <a:gd name="connsiteY0" fmla="*/ 0 h 4319586"/>
              <a:gd name="connsiteX1" fmla="*/ 215979 w 7344743"/>
              <a:gd name="connsiteY1" fmla="*/ 0 h 4319586"/>
              <a:gd name="connsiteX2" fmla="*/ 914400 w 7344743"/>
              <a:gd name="connsiteY2" fmla="*/ 0 h 4319586"/>
              <a:gd name="connsiteX3" fmla="*/ 7128764 w 7344743"/>
              <a:gd name="connsiteY3" fmla="*/ 0 h 4319586"/>
              <a:gd name="connsiteX4" fmla="*/ 7344743 w 7344743"/>
              <a:gd name="connsiteY4" fmla="*/ 215979 h 4319586"/>
              <a:gd name="connsiteX5" fmla="*/ 7344743 w 7344743"/>
              <a:gd name="connsiteY5" fmla="*/ 3405186 h 4319586"/>
              <a:gd name="connsiteX6" fmla="*/ 7344743 w 7344743"/>
              <a:gd name="connsiteY6" fmla="*/ 4103607 h 4319586"/>
              <a:gd name="connsiteX7" fmla="*/ 7344743 w 7344743"/>
              <a:gd name="connsiteY7" fmla="*/ 4319586 h 4319586"/>
              <a:gd name="connsiteX8" fmla="*/ 7128764 w 7344743"/>
              <a:gd name="connsiteY8" fmla="*/ 4319586 h 4319586"/>
              <a:gd name="connsiteX9" fmla="*/ 6430343 w 7344743"/>
              <a:gd name="connsiteY9" fmla="*/ 4319586 h 4319586"/>
              <a:gd name="connsiteX10" fmla="*/ 215979 w 7344743"/>
              <a:gd name="connsiteY10" fmla="*/ 4319586 h 4319586"/>
              <a:gd name="connsiteX11" fmla="*/ 0 w 7344743"/>
              <a:gd name="connsiteY11" fmla="*/ 4103607 h 4319586"/>
              <a:gd name="connsiteX12" fmla="*/ 0 w 7344743"/>
              <a:gd name="connsiteY12" fmla="*/ 914400 h 4319586"/>
              <a:gd name="connsiteX13" fmla="*/ 0 w 7344743"/>
              <a:gd name="connsiteY13" fmla="*/ 215979 h 4319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344743" h="4319586">
                <a:moveTo>
                  <a:pt x="0" y="0"/>
                </a:moveTo>
                <a:lnTo>
                  <a:pt x="215979" y="0"/>
                </a:lnTo>
                <a:lnTo>
                  <a:pt x="914400" y="0"/>
                </a:lnTo>
                <a:lnTo>
                  <a:pt x="7128764" y="0"/>
                </a:lnTo>
                <a:cubicBezTo>
                  <a:pt x="7248046" y="0"/>
                  <a:pt x="7344743" y="96697"/>
                  <a:pt x="7344743" y="215979"/>
                </a:cubicBezTo>
                <a:lnTo>
                  <a:pt x="7344743" y="3405186"/>
                </a:lnTo>
                <a:lnTo>
                  <a:pt x="7344743" y="4103607"/>
                </a:lnTo>
                <a:lnTo>
                  <a:pt x="7344743" y="4319586"/>
                </a:lnTo>
                <a:lnTo>
                  <a:pt x="7128764" y="4319586"/>
                </a:lnTo>
                <a:lnTo>
                  <a:pt x="6430343" y="4319586"/>
                </a:lnTo>
                <a:lnTo>
                  <a:pt x="215979" y="4319586"/>
                </a:lnTo>
                <a:cubicBezTo>
                  <a:pt x="96697" y="4319586"/>
                  <a:pt x="0" y="4222889"/>
                  <a:pt x="0" y="4103607"/>
                </a:cubicBezTo>
                <a:lnTo>
                  <a:pt x="0" y="914400"/>
                </a:lnTo>
                <a:lnTo>
                  <a:pt x="0" y="215979"/>
                </a:lnTo>
                <a:close/>
              </a:path>
            </a:pathLst>
          </a:custGeom>
          <a:solidFill>
            <a:schemeClr val="bg2"/>
          </a:solidFill>
        </p:spPr>
        <p:txBody>
          <a:bodyPr wrap="square">
            <a:noAutofit/>
          </a:bodyPr>
          <a:lstStyle>
            <a:lvl1pPr rtl="0">
              <a:defRPr>
                <a:solidFill>
                  <a:schemeClr val="tx1"/>
                </a:solidFill>
              </a:defRPr>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8400675" y="1773239"/>
            <a:ext cx="3456361" cy="4319582"/>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3" name="Fußzeilenplatzhalter 112">
            <a:extLst>
              <a:ext uri="{FF2B5EF4-FFF2-40B4-BE49-F238E27FC236}">
                <a16:creationId xmlns:a16="http://schemas.microsoft.com/office/drawing/2014/main" id="{B3554CE7-D079-62C5-F0BB-8AC8D0B72B58}"/>
              </a:ext>
            </a:extLst>
          </p:cNvPr>
          <p:cNvSpPr>
            <a:spLocks noGrp="1"/>
          </p:cNvSpPr>
          <p:nvPr>
            <p:ph type="ftr" sz="quarter" idx="15"/>
          </p:nvPr>
        </p:nvSpPr>
        <p:spPr/>
        <p:txBody>
          <a:bodyPr/>
          <a:lstStyle/>
          <a:p>
            <a:endParaRPr lang="en-US"/>
          </a:p>
        </p:txBody>
      </p:sp>
      <p:sp>
        <p:nvSpPr>
          <p:cNvPr id="114" name="Foliennummernplatzhalter 113">
            <a:extLst>
              <a:ext uri="{FF2B5EF4-FFF2-40B4-BE49-F238E27FC236}">
                <a16:creationId xmlns:a16="http://schemas.microsoft.com/office/drawing/2014/main" id="{2CAB392D-6C48-3132-7A9C-6201CDE708AD}"/>
              </a:ext>
            </a:extLst>
          </p:cNvPr>
          <p:cNvSpPr>
            <a:spLocks noGrp="1"/>
          </p:cNvSpPr>
          <p:nvPr>
            <p:ph type="sldNum" sz="quarter" idx="16"/>
          </p:nvPr>
        </p:nvSpPr>
        <p:spPr/>
        <p:txBody>
          <a:bodyPr/>
          <a:lstStyle/>
          <a:p>
            <a:fld id="{C7D046C8-03B9-4997-9490-81EAE2ED7C49}" type="slidenum">
              <a:rPr lang="en-US" smtClean="0"/>
              <a:t>‹Nr.›</a:t>
            </a:fld>
            <a:endParaRPr lang="en-US"/>
          </a:p>
        </p:txBody>
      </p:sp>
      <p:grpSp>
        <p:nvGrpSpPr>
          <p:cNvPr id="14" name="Gruppieren 13">
            <a:extLst>
              <a:ext uri="{FF2B5EF4-FFF2-40B4-BE49-F238E27FC236}">
                <a16:creationId xmlns:a16="http://schemas.microsoft.com/office/drawing/2014/main" id="{5E4F4C11-F828-EEB5-D491-B5E147CB0001}"/>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15" name="Gerader Verbinder 14">
              <a:extLst>
                <a:ext uri="{FF2B5EF4-FFF2-40B4-BE49-F238E27FC236}">
                  <a16:creationId xmlns:a16="http://schemas.microsoft.com/office/drawing/2014/main" id="{45C8A40F-3570-7398-6606-ED012072CD5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40E6AF93-6ED4-13E4-ADF0-184B6C95E3C1}"/>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uppieren 25">
            <a:extLst>
              <a:ext uri="{FF2B5EF4-FFF2-40B4-BE49-F238E27FC236}">
                <a16:creationId xmlns:a16="http://schemas.microsoft.com/office/drawing/2014/main" id="{56157887-B659-DAFC-DD3D-26B3C41E02BB}"/>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27" name="Gerader Verbinder 26">
              <a:extLst>
                <a:ext uri="{FF2B5EF4-FFF2-40B4-BE49-F238E27FC236}">
                  <a16:creationId xmlns:a16="http://schemas.microsoft.com/office/drawing/2014/main" id="{3F895BE4-45FE-1DB3-BA15-3BD00B42B8C4}"/>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469C3F4F-57CE-28C9-AE13-2AB2D549697D}"/>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23" name="Gruppieren 122">
            <a:extLst>
              <a:ext uri="{FF2B5EF4-FFF2-40B4-BE49-F238E27FC236}">
                <a16:creationId xmlns:a16="http://schemas.microsoft.com/office/drawing/2014/main" id="{62EA6990-D6CC-3EC8-2D35-74606677D161}"/>
              </a:ext>
              <a:ext uri="{C183D7F6-B498-43B3-948B-1728B52AA6E4}">
                <adec:decorative xmlns:adec="http://schemas.microsoft.com/office/drawing/2017/decorative" val="1"/>
              </a:ext>
            </a:extLst>
          </p:cNvPr>
          <p:cNvGrpSpPr/>
          <p:nvPr/>
        </p:nvGrpSpPr>
        <p:grpSpPr bwMode="gray">
          <a:xfrm>
            <a:off x="12301940" y="296863"/>
            <a:ext cx="144000" cy="6300787"/>
            <a:chOff x="0" y="296863"/>
            <a:chExt cx="12192000" cy="6300787"/>
          </a:xfrm>
        </p:grpSpPr>
        <p:cxnSp>
          <p:nvCxnSpPr>
            <p:cNvPr id="124" name="Gerader Verbinder 123">
              <a:extLst>
                <a:ext uri="{FF2B5EF4-FFF2-40B4-BE49-F238E27FC236}">
                  <a16:creationId xmlns:a16="http://schemas.microsoft.com/office/drawing/2014/main" id="{C93D21CF-E90A-A46B-4CA6-95F10B16CC4B}"/>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5" name="Gerader Verbinder 124">
              <a:extLst>
                <a:ext uri="{FF2B5EF4-FFF2-40B4-BE49-F238E27FC236}">
                  <a16:creationId xmlns:a16="http://schemas.microsoft.com/office/drawing/2014/main" id="{20B2FDF5-A78D-BCFE-32D1-1307C61A9CD6}"/>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6" name="Gerader Verbinder 125">
              <a:extLst>
                <a:ext uri="{FF2B5EF4-FFF2-40B4-BE49-F238E27FC236}">
                  <a16:creationId xmlns:a16="http://schemas.microsoft.com/office/drawing/2014/main" id="{79DF1EC5-73F1-8C56-3697-679573889965}"/>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7" name="Gerader Verbinder 126">
              <a:extLst>
                <a:ext uri="{FF2B5EF4-FFF2-40B4-BE49-F238E27FC236}">
                  <a16:creationId xmlns:a16="http://schemas.microsoft.com/office/drawing/2014/main" id="{9BE78E2E-E9BF-379A-09C5-9E5CF527A34B}"/>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8" name="Gerader Verbinder 127">
              <a:extLst>
                <a:ext uri="{FF2B5EF4-FFF2-40B4-BE49-F238E27FC236}">
                  <a16:creationId xmlns:a16="http://schemas.microsoft.com/office/drawing/2014/main" id="{62EDBECE-29A3-D399-3AAF-921E886D418A}"/>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9" name="Gerader Verbinder 128">
              <a:extLst>
                <a:ext uri="{FF2B5EF4-FFF2-40B4-BE49-F238E27FC236}">
                  <a16:creationId xmlns:a16="http://schemas.microsoft.com/office/drawing/2014/main" id="{F7354BD8-357A-4B52-21AC-4147BF0000BE}"/>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0" name="Gerader Verbinder 129">
              <a:extLst>
                <a:ext uri="{FF2B5EF4-FFF2-40B4-BE49-F238E27FC236}">
                  <a16:creationId xmlns:a16="http://schemas.microsoft.com/office/drawing/2014/main" id="{AE5DB696-88E1-DE1C-B7F0-7289B10829AE}"/>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15016994"/>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osaik">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3817619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9600"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9600" cy="738664"/>
          </a:xfrm>
        </p:spPr>
        <p:txBody>
          <a:bodyPr vert="horz"/>
          <a:lstStyle>
            <a:lvl1pPr rtl="0">
              <a:defRPr/>
            </a:lvl1pPr>
          </a:lstStyle>
          <a:p>
            <a:r>
              <a:rPr lang="de-DE"/>
              <a:t>Mastertitelformat bearbeiten</a:t>
            </a:r>
          </a:p>
        </p:txBody>
      </p:sp>
      <p:sp>
        <p:nvSpPr>
          <p:cNvPr id="48" name="Bildplatzhalter 47" descr="6 Bilder als Kacheln angeordnet. Links 4 kleine Bilder, davon 2 oben, 2 unten. Rechts zwei größere Bilder nebeneinander, doppelt so hoch wie die kleinen Bilder links. Dies ist das erste kleine Bild in der oberen Reihe.">
            <a:extLst>
              <a:ext uri="{FF2B5EF4-FFF2-40B4-BE49-F238E27FC236}">
                <a16:creationId xmlns:a16="http://schemas.microsoft.com/office/drawing/2014/main" id="{A9429A64-91BA-CAB5-60A6-0D7B218748A9}"/>
              </a:ext>
            </a:extLst>
          </p:cNvPr>
          <p:cNvSpPr>
            <a:spLocks noGrp="1"/>
          </p:cNvSpPr>
          <p:nvPr>
            <p:ph type="pic" sz="quarter" idx="13"/>
          </p:nvPr>
        </p:nvSpPr>
        <p:spPr bwMode="gray">
          <a:xfrm>
            <a:off x="623888" y="1773240"/>
            <a:ext cx="2808287" cy="2178049"/>
          </a:xfrm>
          <a:custGeom>
            <a:avLst/>
            <a:gdLst>
              <a:gd name="connsiteX0" fmla="*/ 215670 w 2808287"/>
              <a:gd name="connsiteY0" fmla="*/ 0 h 2178049"/>
              <a:gd name="connsiteX1" fmla="*/ 2092007 w 2808287"/>
              <a:gd name="connsiteY1" fmla="*/ 0 h 2178049"/>
              <a:gd name="connsiteX2" fmla="*/ 2592617 w 2808287"/>
              <a:gd name="connsiteY2" fmla="*/ 0 h 2178049"/>
              <a:gd name="connsiteX3" fmla="*/ 2808287 w 2808287"/>
              <a:gd name="connsiteY3" fmla="*/ 0 h 2178049"/>
              <a:gd name="connsiteX4" fmla="*/ 2808287 w 2808287"/>
              <a:gd name="connsiteY4" fmla="*/ 215670 h 2178049"/>
              <a:gd name="connsiteX5" fmla="*/ 2808287 w 2808287"/>
              <a:gd name="connsiteY5" fmla="*/ 1962379 h 2178049"/>
              <a:gd name="connsiteX6" fmla="*/ 2808287 w 2808287"/>
              <a:gd name="connsiteY6" fmla="*/ 2178049 h 2178049"/>
              <a:gd name="connsiteX7" fmla="*/ 2592617 w 2808287"/>
              <a:gd name="connsiteY7" fmla="*/ 2178049 h 2178049"/>
              <a:gd name="connsiteX8" fmla="*/ 2432539 w 2808287"/>
              <a:gd name="connsiteY8" fmla="*/ 2178049 h 2178049"/>
              <a:gd name="connsiteX9" fmla="*/ 2092007 w 2808287"/>
              <a:gd name="connsiteY9" fmla="*/ 2178049 h 2178049"/>
              <a:gd name="connsiteX10" fmla="*/ 215670 w 2808287"/>
              <a:gd name="connsiteY10" fmla="*/ 2178049 h 2178049"/>
              <a:gd name="connsiteX11" fmla="*/ 0 w 2808287"/>
              <a:gd name="connsiteY11" fmla="*/ 2178049 h 2178049"/>
              <a:gd name="connsiteX12" fmla="*/ 0 w 2808287"/>
              <a:gd name="connsiteY12" fmla="*/ 1962379 h 2178049"/>
              <a:gd name="connsiteX13" fmla="*/ 0 w 2808287"/>
              <a:gd name="connsiteY13" fmla="*/ 1251900 h 2178049"/>
              <a:gd name="connsiteX14" fmla="*/ 0 w 2808287"/>
              <a:gd name="connsiteY14" fmla="*/ 215670 h 2178049"/>
              <a:gd name="connsiteX15" fmla="*/ 215670 w 2808287"/>
              <a:gd name="connsiteY15" fmla="*/ 0 h 2178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08287" h="2178049">
                <a:moveTo>
                  <a:pt x="215670" y="0"/>
                </a:moveTo>
                <a:lnTo>
                  <a:pt x="2092007" y="0"/>
                </a:lnTo>
                <a:lnTo>
                  <a:pt x="2592617" y="0"/>
                </a:lnTo>
                <a:lnTo>
                  <a:pt x="2808287" y="0"/>
                </a:lnTo>
                <a:lnTo>
                  <a:pt x="2808287" y="215670"/>
                </a:lnTo>
                <a:lnTo>
                  <a:pt x="2808287" y="1962379"/>
                </a:lnTo>
                <a:lnTo>
                  <a:pt x="2808287" y="2178049"/>
                </a:lnTo>
                <a:lnTo>
                  <a:pt x="2592617" y="2178049"/>
                </a:lnTo>
                <a:lnTo>
                  <a:pt x="2432539" y="2178049"/>
                </a:lnTo>
                <a:lnTo>
                  <a:pt x="2092007" y="2178049"/>
                </a:lnTo>
                <a:lnTo>
                  <a:pt x="215670" y="2178049"/>
                </a:lnTo>
                <a:lnTo>
                  <a:pt x="0" y="2178049"/>
                </a:lnTo>
                <a:lnTo>
                  <a:pt x="0" y="1962379"/>
                </a:lnTo>
                <a:lnTo>
                  <a:pt x="0" y="1251900"/>
                </a:lnTo>
                <a:lnTo>
                  <a:pt x="0" y="215670"/>
                </a:lnTo>
                <a:cubicBezTo>
                  <a:pt x="0" y="96559"/>
                  <a:pt x="96559" y="0"/>
                  <a:pt x="215670" y="0"/>
                </a:cubicBezTo>
                <a:close/>
              </a:path>
            </a:pathLst>
          </a:custGeom>
          <a:solidFill>
            <a:schemeClr val="bg2"/>
          </a:solidFill>
        </p:spPr>
        <p:txBody>
          <a:bodyPr wrap="square">
            <a:noAutofit/>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7" name="Bildplatzhalter 6" descr="Dies ist das zweite kleine Bild in der oberen Reihe.">
            <a:extLst>
              <a:ext uri="{FF2B5EF4-FFF2-40B4-BE49-F238E27FC236}">
                <a16:creationId xmlns:a16="http://schemas.microsoft.com/office/drawing/2014/main" id="{CBD19825-FD24-6B55-51AC-DAFE83A5E355}"/>
              </a:ext>
            </a:extLst>
          </p:cNvPr>
          <p:cNvSpPr>
            <a:spLocks noGrp="1"/>
          </p:cNvSpPr>
          <p:nvPr>
            <p:ph type="pic" sz="quarter" idx="14"/>
          </p:nvPr>
        </p:nvSpPr>
        <p:spPr>
          <a:xfrm>
            <a:off x="3432175" y="1773240"/>
            <a:ext cx="2808287" cy="2178049"/>
          </a:xfrm>
          <a:solidFill>
            <a:schemeClr val="bg2"/>
          </a:solidFill>
        </p:spPr>
        <p: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13" name="Bildplatzhalter 12" descr="Dies ist das erste kleine Bild in der unteren Reihe.">
            <a:extLst>
              <a:ext uri="{FF2B5EF4-FFF2-40B4-BE49-F238E27FC236}">
                <a16:creationId xmlns:a16="http://schemas.microsoft.com/office/drawing/2014/main" id="{ADD8A2E5-62D0-169D-337B-FDC9EDB2D407}"/>
              </a:ext>
            </a:extLst>
          </p:cNvPr>
          <p:cNvSpPr>
            <a:spLocks noGrp="1"/>
          </p:cNvSpPr>
          <p:nvPr>
            <p:ph type="pic" sz="quarter" idx="15"/>
          </p:nvPr>
        </p:nvSpPr>
        <p:spPr>
          <a:xfrm>
            <a:off x="623888" y="3951290"/>
            <a:ext cx="2808287" cy="2141536"/>
          </a:xfrm>
          <a:solidFill>
            <a:schemeClr val="bg2"/>
          </a:solidFill>
        </p:spPr>
        <p: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38" name="Bildplatzhalter 37" descr="Dies ist das zweite kleine Bild in der unteren Reihe.">
            <a:extLst>
              <a:ext uri="{FF2B5EF4-FFF2-40B4-BE49-F238E27FC236}">
                <a16:creationId xmlns:a16="http://schemas.microsoft.com/office/drawing/2014/main" id="{53BBAF39-77A8-8850-AE43-CC114EB4E3C2}"/>
              </a:ext>
            </a:extLst>
          </p:cNvPr>
          <p:cNvSpPr>
            <a:spLocks noGrp="1"/>
          </p:cNvSpPr>
          <p:nvPr>
            <p:ph type="pic" sz="quarter" idx="16"/>
          </p:nvPr>
        </p:nvSpPr>
        <p:spPr>
          <a:xfrm>
            <a:off x="3432175" y="3951290"/>
            <a:ext cx="2808287" cy="2141536"/>
          </a:xfrm>
          <a:solidFill>
            <a:schemeClr val="bg2"/>
          </a:solidFill>
        </p:spPr>
        <p: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40" name="Bildplatzhalter 39" descr="Dies ist das linke große Bild.">
            <a:extLst>
              <a:ext uri="{FF2B5EF4-FFF2-40B4-BE49-F238E27FC236}">
                <a16:creationId xmlns:a16="http://schemas.microsoft.com/office/drawing/2014/main" id="{B8F750F2-C9DC-F957-C4B9-615EA73942A5}"/>
              </a:ext>
            </a:extLst>
          </p:cNvPr>
          <p:cNvSpPr>
            <a:spLocks noGrp="1"/>
          </p:cNvSpPr>
          <p:nvPr>
            <p:ph type="pic" sz="quarter" idx="17"/>
          </p:nvPr>
        </p:nvSpPr>
        <p:spPr>
          <a:xfrm>
            <a:off x="6240462" y="1773240"/>
            <a:ext cx="2808287" cy="4319584"/>
          </a:xfrm>
          <a:solidFill>
            <a:schemeClr val="bg2"/>
          </a:solidFill>
        </p:spPr>
        <p: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53" name="Bildplatzhalter 52" descr="Dies ist das rechte große Bild.">
            <a:extLst>
              <a:ext uri="{FF2B5EF4-FFF2-40B4-BE49-F238E27FC236}">
                <a16:creationId xmlns:a16="http://schemas.microsoft.com/office/drawing/2014/main" id="{635A3CB3-034D-498F-C8EA-BEBFE1AC01A3}"/>
              </a:ext>
            </a:extLst>
          </p:cNvPr>
          <p:cNvSpPr>
            <a:spLocks noGrp="1"/>
          </p:cNvSpPr>
          <p:nvPr>
            <p:ph type="pic" sz="quarter" idx="18"/>
          </p:nvPr>
        </p:nvSpPr>
        <p:spPr bwMode="gray">
          <a:xfrm>
            <a:off x="9048750" y="1773240"/>
            <a:ext cx="2808287" cy="4319584"/>
          </a:xfrm>
          <a:custGeom>
            <a:avLst/>
            <a:gdLst>
              <a:gd name="connsiteX0" fmla="*/ 0 w 2808287"/>
              <a:gd name="connsiteY0" fmla="*/ 0 h 4356098"/>
              <a:gd name="connsiteX1" fmla="*/ 215676 w 2808287"/>
              <a:gd name="connsiteY1" fmla="*/ 0 h 4356098"/>
              <a:gd name="connsiteX2" fmla="*/ 2592611 w 2808287"/>
              <a:gd name="connsiteY2" fmla="*/ 0 h 4356098"/>
              <a:gd name="connsiteX3" fmla="*/ 2808287 w 2808287"/>
              <a:gd name="connsiteY3" fmla="*/ 0 h 4356098"/>
              <a:gd name="connsiteX4" fmla="*/ 2808287 w 2808287"/>
              <a:gd name="connsiteY4" fmla="*/ 215676 h 4356098"/>
              <a:gd name="connsiteX5" fmla="*/ 2808287 w 2808287"/>
              <a:gd name="connsiteY5" fmla="*/ 1140506 h 4356098"/>
              <a:gd name="connsiteX6" fmla="*/ 2808287 w 2808287"/>
              <a:gd name="connsiteY6" fmla="*/ 4140422 h 4356098"/>
              <a:gd name="connsiteX7" fmla="*/ 2592611 w 2808287"/>
              <a:gd name="connsiteY7" fmla="*/ 4356098 h 4356098"/>
              <a:gd name="connsiteX8" fmla="*/ 1631951 w 2808287"/>
              <a:gd name="connsiteY8" fmla="*/ 4356098 h 4356098"/>
              <a:gd name="connsiteX9" fmla="*/ 215676 w 2808287"/>
              <a:gd name="connsiteY9" fmla="*/ 4356098 h 4356098"/>
              <a:gd name="connsiteX10" fmla="*/ 1 w 2808287"/>
              <a:gd name="connsiteY10" fmla="*/ 4356098 h 4356098"/>
              <a:gd name="connsiteX11" fmla="*/ 1 w 2808287"/>
              <a:gd name="connsiteY11" fmla="*/ 4140432 h 4356098"/>
              <a:gd name="connsiteX12" fmla="*/ 0 w 2808287"/>
              <a:gd name="connsiteY12" fmla="*/ 4140422 h 4356098"/>
              <a:gd name="connsiteX13" fmla="*/ 0 w 2808287"/>
              <a:gd name="connsiteY13" fmla="*/ 1140506 h 4356098"/>
              <a:gd name="connsiteX14" fmla="*/ 0 w 2808287"/>
              <a:gd name="connsiteY14" fmla="*/ 215676 h 435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08287" h="4356098">
                <a:moveTo>
                  <a:pt x="0" y="0"/>
                </a:moveTo>
                <a:lnTo>
                  <a:pt x="215676" y="0"/>
                </a:lnTo>
                <a:lnTo>
                  <a:pt x="2592611" y="0"/>
                </a:lnTo>
                <a:lnTo>
                  <a:pt x="2808287" y="0"/>
                </a:lnTo>
                <a:lnTo>
                  <a:pt x="2808287" y="215676"/>
                </a:lnTo>
                <a:lnTo>
                  <a:pt x="2808287" y="1140506"/>
                </a:lnTo>
                <a:lnTo>
                  <a:pt x="2808287" y="4140422"/>
                </a:lnTo>
                <a:cubicBezTo>
                  <a:pt x="2808287" y="4259537"/>
                  <a:pt x="2711726" y="4356098"/>
                  <a:pt x="2592611" y="4356098"/>
                </a:cubicBezTo>
                <a:lnTo>
                  <a:pt x="1631951" y="4356098"/>
                </a:lnTo>
                <a:lnTo>
                  <a:pt x="215676" y="4356098"/>
                </a:lnTo>
                <a:lnTo>
                  <a:pt x="1" y="4356098"/>
                </a:lnTo>
                <a:lnTo>
                  <a:pt x="1" y="4140432"/>
                </a:lnTo>
                <a:lnTo>
                  <a:pt x="0" y="4140422"/>
                </a:lnTo>
                <a:lnTo>
                  <a:pt x="0" y="1140506"/>
                </a:lnTo>
                <a:lnTo>
                  <a:pt x="0" y="215676"/>
                </a:lnTo>
                <a:close/>
              </a:path>
            </a:pathLst>
          </a:custGeom>
          <a:solidFill>
            <a:schemeClr val="bg2"/>
          </a:solidFill>
        </p:spPr>
        <p:txBody>
          <a:bodyPr wrap="square">
            <a:noAutofit/>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113" name="Fußzeilenplatzhalter 112">
            <a:extLst>
              <a:ext uri="{FF2B5EF4-FFF2-40B4-BE49-F238E27FC236}">
                <a16:creationId xmlns:a16="http://schemas.microsoft.com/office/drawing/2014/main" id="{90827D8A-F4EA-61E7-8BD9-C2DBDE5AE2F1}"/>
              </a:ext>
            </a:extLst>
          </p:cNvPr>
          <p:cNvSpPr>
            <a:spLocks noGrp="1"/>
          </p:cNvSpPr>
          <p:nvPr>
            <p:ph type="ftr" sz="quarter" idx="19"/>
          </p:nvPr>
        </p:nvSpPr>
        <p:spPr/>
        <p:txBody>
          <a:bodyPr/>
          <a:lstStyle/>
          <a:p>
            <a:endParaRPr lang="en-US"/>
          </a:p>
        </p:txBody>
      </p:sp>
      <p:sp>
        <p:nvSpPr>
          <p:cNvPr id="114" name="Foliennummernplatzhalter 113">
            <a:extLst>
              <a:ext uri="{FF2B5EF4-FFF2-40B4-BE49-F238E27FC236}">
                <a16:creationId xmlns:a16="http://schemas.microsoft.com/office/drawing/2014/main" id="{29859B51-F142-DEF0-1406-2A2C8104E652}"/>
              </a:ext>
            </a:extLst>
          </p:cNvPr>
          <p:cNvSpPr>
            <a:spLocks noGrp="1"/>
          </p:cNvSpPr>
          <p:nvPr>
            <p:ph type="sldNum" sz="quarter" idx="20"/>
          </p:nvPr>
        </p:nvSpPr>
        <p:spPr/>
        <p:txBody>
          <a:bodyPr/>
          <a:lstStyle/>
          <a:p>
            <a:fld id="{C7D046C8-03B9-4997-9490-81EAE2ED7C49}" type="slidenum">
              <a:rPr lang="en-US" smtClean="0"/>
              <a:t>‹Nr.›</a:t>
            </a:fld>
            <a:endParaRPr lang="en-US"/>
          </a:p>
        </p:txBody>
      </p:sp>
      <p:grpSp>
        <p:nvGrpSpPr>
          <p:cNvPr id="14" name="Gruppieren 13">
            <a:extLst>
              <a:ext uri="{FF2B5EF4-FFF2-40B4-BE49-F238E27FC236}">
                <a16:creationId xmlns:a16="http://schemas.microsoft.com/office/drawing/2014/main" id="{5E4F4C11-F828-EEB5-D491-B5E147CB0001}"/>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15" name="Gerader Verbinder 14">
              <a:extLst>
                <a:ext uri="{FF2B5EF4-FFF2-40B4-BE49-F238E27FC236}">
                  <a16:creationId xmlns:a16="http://schemas.microsoft.com/office/drawing/2014/main" id="{45C8A40F-3570-7398-6606-ED012072CD5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40E6AF93-6ED4-13E4-ADF0-184B6C95E3C1}"/>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uppieren 25">
            <a:extLst>
              <a:ext uri="{FF2B5EF4-FFF2-40B4-BE49-F238E27FC236}">
                <a16:creationId xmlns:a16="http://schemas.microsoft.com/office/drawing/2014/main" id="{56157887-B659-DAFC-DD3D-26B3C41E02BB}"/>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27" name="Gerader Verbinder 26">
              <a:extLst>
                <a:ext uri="{FF2B5EF4-FFF2-40B4-BE49-F238E27FC236}">
                  <a16:creationId xmlns:a16="http://schemas.microsoft.com/office/drawing/2014/main" id="{3F895BE4-45FE-1DB3-BA15-3BD00B42B8C4}"/>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469C3F4F-57CE-28C9-AE13-2AB2D549697D}"/>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62872329"/>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Keymessage mit Bi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2056626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ildplatzhalter 3" descr="Bild füllt die komplette Folie aus, oben links Titel und Untertitel, Bild ist änderbar.">
            <a:extLst>
              <a:ext uri="{FF2B5EF4-FFF2-40B4-BE49-F238E27FC236}">
                <a16:creationId xmlns:a16="http://schemas.microsoft.com/office/drawing/2014/main" id="{0C3BE6D5-789A-7785-D582-2549391021AB}"/>
              </a:ext>
            </a:extLst>
          </p:cNvPr>
          <p:cNvSpPr>
            <a:spLocks noGrp="1"/>
          </p:cNvSpPr>
          <p:nvPr>
            <p:ph type="pic" sz="quarter" idx="14"/>
          </p:nvPr>
        </p:nvSpPr>
        <p:spPr bwMode="gray">
          <a:xfrm>
            <a:off x="2" y="1"/>
            <a:ext cx="12191999" cy="6857999"/>
          </a:xfrm>
          <a:custGeom>
            <a:avLst/>
            <a:gdLst>
              <a:gd name="connsiteX0" fmla="*/ 10764520 w 12191999"/>
              <a:gd name="connsiteY0" fmla="*/ 454510 h 6857999"/>
              <a:gd name="connsiteX1" fmla="*/ 10704520 w 12191999"/>
              <a:gd name="connsiteY1" fmla="*/ 514510 h 6857999"/>
              <a:gd name="connsiteX2" fmla="*/ 10764520 w 12191999"/>
              <a:gd name="connsiteY2" fmla="*/ 574510 h 6857999"/>
              <a:gd name="connsiteX3" fmla="*/ 10824520 w 12191999"/>
              <a:gd name="connsiteY3" fmla="*/ 514510 h 6857999"/>
              <a:gd name="connsiteX4" fmla="*/ 10764520 w 12191999"/>
              <a:gd name="connsiteY4" fmla="*/ 454510 h 6857999"/>
              <a:gd name="connsiteX5" fmla="*/ 11703579 w 12191999"/>
              <a:gd name="connsiteY5" fmla="*/ 338981 h 6857999"/>
              <a:gd name="connsiteX6" fmla="*/ 11807108 w 12191999"/>
              <a:gd name="connsiteY6" fmla="*/ 338981 h 6857999"/>
              <a:gd name="connsiteX7" fmla="*/ 11807108 w 12191999"/>
              <a:gd name="connsiteY7" fmla="*/ 530745 h 6857999"/>
              <a:gd name="connsiteX8" fmla="*/ 11701461 w 12191999"/>
              <a:gd name="connsiteY8" fmla="*/ 530745 h 6857999"/>
              <a:gd name="connsiteX9" fmla="*/ 11637696 w 12191999"/>
              <a:gd name="connsiteY9" fmla="*/ 492628 h 6857999"/>
              <a:gd name="connsiteX10" fmla="*/ 11637696 w 12191999"/>
              <a:gd name="connsiteY10" fmla="*/ 432863 h 6857999"/>
              <a:gd name="connsiteX11" fmla="*/ 11637696 w 12191999"/>
              <a:gd name="connsiteY11" fmla="*/ 383687 h 6857999"/>
              <a:gd name="connsiteX12" fmla="*/ 11703579 w 12191999"/>
              <a:gd name="connsiteY12" fmla="*/ 338981 h 6857999"/>
              <a:gd name="connsiteX13" fmla="*/ 11686167 w 12191999"/>
              <a:gd name="connsiteY13" fmla="*/ 296863 h 6857999"/>
              <a:gd name="connsiteX14" fmla="*/ 11612284 w 12191999"/>
              <a:gd name="connsiteY14" fmla="*/ 313804 h 6857999"/>
              <a:gd name="connsiteX15" fmla="*/ 11586402 w 12191999"/>
              <a:gd name="connsiteY15" fmla="*/ 384392 h 6857999"/>
              <a:gd name="connsiteX16" fmla="*/ 11586402 w 12191999"/>
              <a:gd name="connsiteY16" fmla="*/ 483922 h 6857999"/>
              <a:gd name="connsiteX17" fmla="*/ 11613931 w 12191999"/>
              <a:gd name="connsiteY17" fmla="*/ 558275 h 6857999"/>
              <a:gd name="connsiteX18" fmla="*/ 11686402 w 12191999"/>
              <a:gd name="connsiteY18" fmla="*/ 572628 h 6857999"/>
              <a:gd name="connsiteX19" fmla="*/ 11807108 w 12191999"/>
              <a:gd name="connsiteY19" fmla="*/ 572628 h 6857999"/>
              <a:gd name="connsiteX20" fmla="*/ 11807108 w 12191999"/>
              <a:gd name="connsiteY20" fmla="*/ 583216 h 6857999"/>
              <a:gd name="connsiteX21" fmla="*/ 11779108 w 12191999"/>
              <a:gd name="connsiteY21" fmla="*/ 613098 h 6857999"/>
              <a:gd name="connsiteX22" fmla="*/ 11621696 w 12191999"/>
              <a:gd name="connsiteY22" fmla="*/ 613098 h 6857999"/>
              <a:gd name="connsiteX23" fmla="*/ 11621696 w 12191999"/>
              <a:gd name="connsiteY23" fmla="*/ 657334 h 6857999"/>
              <a:gd name="connsiteX24" fmla="*/ 11795343 w 12191999"/>
              <a:gd name="connsiteY24" fmla="*/ 657334 h 6857999"/>
              <a:gd name="connsiteX25" fmla="*/ 11857226 w 12191999"/>
              <a:gd name="connsiteY25" fmla="*/ 597098 h 6857999"/>
              <a:gd name="connsiteX26" fmla="*/ 11857226 w 12191999"/>
              <a:gd name="connsiteY26" fmla="*/ 296863 h 6857999"/>
              <a:gd name="connsiteX27" fmla="*/ 11351579 w 12191999"/>
              <a:gd name="connsiteY27" fmla="*/ 296863 h 6857999"/>
              <a:gd name="connsiteX28" fmla="*/ 11280755 w 12191999"/>
              <a:gd name="connsiteY28" fmla="*/ 373334 h 6857999"/>
              <a:gd name="connsiteX29" fmla="*/ 11348049 w 12191999"/>
              <a:gd name="connsiteY29" fmla="*/ 452863 h 6857999"/>
              <a:gd name="connsiteX30" fmla="*/ 11467814 w 12191999"/>
              <a:gd name="connsiteY30" fmla="*/ 452863 h 6857999"/>
              <a:gd name="connsiteX31" fmla="*/ 11504520 w 12191999"/>
              <a:gd name="connsiteY31" fmla="*/ 494039 h 6857999"/>
              <a:gd name="connsiteX32" fmla="*/ 11468755 w 12191999"/>
              <a:gd name="connsiteY32" fmla="*/ 530745 h 6857999"/>
              <a:gd name="connsiteX33" fmla="*/ 11285461 w 12191999"/>
              <a:gd name="connsiteY33" fmla="*/ 530745 h 6857999"/>
              <a:gd name="connsiteX34" fmla="*/ 11285461 w 12191999"/>
              <a:gd name="connsiteY34" fmla="*/ 572863 h 6857999"/>
              <a:gd name="connsiteX35" fmla="*/ 11489932 w 12191999"/>
              <a:gd name="connsiteY35" fmla="*/ 572863 h 6857999"/>
              <a:gd name="connsiteX36" fmla="*/ 11555579 w 12191999"/>
              <a:gd name="connsiteY36" fmla="*/ 494510 h 6857999"/>
              <a:gd name="connsiteX37" fmla="*/ 11493226 w 12191999"/>
              <a:gd name="connsiteY37" fmla="*/ 411216 h 6857999"/>
              <a:gd name="connsiteX38" fmla="*/ 11363814 w 12191999"/>
              <a:gd name="connsiteY38" fmla="*/ 411216 h 6857999"/>
              <a:gd name="connsiteX39" fmla="*/ 11331108 w 12191999"/>
              <a:gd name="connsiteY39" fmla="*/ 374510 h 6857999"/>
              <a:gd name="connsiteX40" fmla="*/ 11369226 w 12191999"/>
              <a:gd name="connsiteY40" fmla="*/ 338981 h 6857999"/>
              <a:gd name="connsiteX41" fmla="*/ 11545932 w 12191999"/>
              <a:gd name="connsiteY41" fmla="*/ 338981 h 6857999"/>
              <a:gd name="connsiteX42" fmla="*/ 11545932 w 12191999"/>
              <a:gd name="connsiteY42" fmla="*/ 297098 h 6857999"/>
              <a:gd name="connsiteX43" fmla="*/ 10863343 w 12191999"/>
              <a:gd name="connsiteY43" fmla="*/ 296863 h 6857999"/>
              <a:gd name="connsiteX44" fmla="*/ 10863343 w 12191999"/>
              <a:gd name="connsiteY44" fmla="*/ 572628 h 6857999"/>
              <a:gd name="connsiteX45" fmla="*/ 10913696 w 12191999"/>
              <a:gd name="connsiteY45" fmla="*/ 572628 h 6857999"/>
              <a:gd name="connsiteX46" fmla="*/ 10913696 w 12191999"/>
              <a:gd name="connsiteY46" fmla="*/ 338745 h 6857999"/>
              <a:gd name="connsiteX47" fmla="*/ 11028990 w 12191999"/>
              <a:gd name="connsiteY47" fmla="*/ 338745 h 6857999"/>
              <a:gd name="connsiteX48" fmla="*/ 11028990 w 12191999"/>
              <a:gd name="connsiteY48" fmla="*/ 572628 h 6857999"/>
              <a:gd name="connsiteX49" fmla="*/ 11079578 w 12191999"/>
              <a:gd name="connsiteY49" fmla="*/ 572628 h 6857999"/>
              <a:gd name="connsiteX50" fmla="*/ 11079578 w 12191999"/>
              <a:gd name="connsiteY50" fmla="*/ 338745 h 6857999"/>
              <a:gd name="connsiteX51" fmla="*/ 11156284 w 12191999"/>
              <a:gd name="connsiteY51" fmla="*/ 338745 h 6857999"/>
              <a:gd name="connsiteX52" fmla="*/ 11200520 w 12191999"/>
              <a:gd name="connsiteY52" fmla="*/ 387922 h 6857999"/>
              <a:gd name="connsiteX53" fmla="*/ 11200520 w 12191999"/>
              <a:gd name="connsiteY53" fmla="*/ 572628 h 6857999"/>
              <a:gd name="connsiteX54" fmla="*/ 11250873 w 12191999"/>
              <a:gd name="connsiteY54" fmla="*/ 572628 h 6857999"/>
              <a:gd name="connsiteX55" fmla="*/ 11250873 w 12191999"/>
              <a:gd name="connsiteY55" fmla="*/ 374039 h 6857999"/>
              <a:gd name="connsiteX56" fmla="*/ 11181696 w 12191999"/>
              <a:gd name="connsiteY56" fmla="*/ 296863 h 6857999"/>
              <a:gd name="connsiteX57" fmla="*/ 0 w 12191999"/>
              <a:gd name="connsiteY57" fmla="*/ 0 h 6857999"/>
              <a:gd name="connsiteX58" fmla="*/ 12191999 w 12191999"/>
              <a:gd name="connsiteY58" fmla="*/ 0 h 6857999"/>
              <a:gd name="connsiteX59" fmla="*/ 12191999 w 12191999"/>
              <a:gd name="connsiteY59" fmla="*/ 6857999 h 6857999"/>
              <a:gd name="connsiteX60" fmla="*/ 0 w 12191999"/>
              <a:gd name="connsiteY60"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91999" h="6857999">
                <a:moveTo>
                  <a:pt x="10764520" y="454510"/>
                </a:moveTo>
                <a:cubicBezTo>
                  <a:pt x="10731344" y="454510"/>
                  <a:pt x="10704520" y="481334"/>
                  <a:pt x="10704520" y="514510"/>
                </a:cubicBezTo>
                <a:cubicBezTo>
                  <a:pt x="10704520" y="547686"/>
                  <a:pt x="10731344" y="574510"/>
                  <a:pt x="10764520" y="574510"/>
                </a:cubicBezTo>
                <a:cubicBezTo>
                  <a:pt x="10797697" y="574510"/>
                  <a:pt x="10824520" y="547686"/>
                  <a:pt x="10824520" y="514510"/>
                </a:cubicBezTo>
                <a:cubicBezTo>
                  <a:pt x="10824520" y="481334"/>
                  <a:pt x="10797697" y="454510"/>
                  <a:pt x="10764520" y="454510"/>
                </a:cubicBezTo>
                <a:close/>
                <a:moveTo>
                  <a:pt x="11703579" y="338981"/>
                </a:moveTo>
                <a:lnTo>
                  <a:pt x="11807108" y="338981"/>
                </a:lnTo>
                <a:lnTo>
                  <a:pt x="11807108" y="530745"/>
                </a:lnTo>
                <a:lnTo>
                  <a:pt x="11701461" y="530745"/>
                </a:lnTo>
                <a:cubicBezTo>
                  <a:pt x="11670167" y="530981"/>
                  <a:pt x="11638637" y="533098"/>
                  <a:pt x="11637696" y="492628"/>
                </a:cubicBezTo>
                <a:cubicBezTo>
                  <a:pt x="11637696" y="490981"/>
                  <a:pt x="11637461" y="476157"/>
                  <a:pt x="11637696" y="432863"/>
                </a:cubicBezTo>
                <a:cubicBezTo>
                  <a:pt x="11637932" y="396157"/>
                  <a:pt x="11637461" y="387451"/>
                  <a:pt x="11637696" y="383687"/>
                </a:cubicBezTo>
                <a:cubicBezTo>
                  <a:pt x="11639343" y="349804"/>
                  <a:pt x="11651814" y="337804"/>
                  <a:pt x="11703579" y="338981"/>
                </a:cubicBezTo>
                <a:close/>
                <a:moveTo>
                  <a:pt x="11686167" y="296863"/>
                </a:moveTo>
                <a:cubicBezTo>
                  <a:pt x="11641226" y="296863"/>
                  <a:pt x="11624520" y="303922"/>
                  <a:pt x="11612284" y="313804"/>
                </a:cubicBezTo>
                <a:cubicBezTo>
                  <a:pt x="11598873" y="324628"/>
                  <a:pt x="11586637" y="338039"/>
                  <a:pt x="11586402" y="384392"/>
                </a:cubicBezTo>
                <a:lnTo>
                  <a:pt x="11586402" y="483922"/>
                </a:lnTo>
                <a:cubicBezTo>
                  <a:pt x="11586402" y="532863"/>
                  <a:pt x="11600049" y="546745"/>
                  <a:pt x="11613931" y="558275"/>
                </a:cubicBezTo>
                <a:cubicBezTo>
                  <a:pt x="11623343" y="564863"/>
                  <a:pt x="11638873" y="572628"/>
                  <a:pt x="11686402" y="572628"/>
                </a:cubicBezTo>
                <a:lnTo>
                  <a:pt x="11807108" y="572628"/>
                </a:lnTo>
                <a:lnTo>
                  <a:pt x="11807108" y="583216"/>
                </a:lnTo>
                <a:cubicBezTo>
                  <a:pt x="11807108" y="604157"/>
                  <a:pt x="11803108" y="613098"/>
                  <a:pt x="11779108" y="613098"/>
                </a:cubicBezTo>
                <a:lnTo>
                  <a:pt x="11621696" y="613098"/>
                </a:lnTo>
                <a:lnTo>
                  <a:pt x="11621696" y="657334"/>
                </a:lnTo>
                <a:lnTo>
                  <a:pt x="11795343" y="657334"/>
                </a:lnTo>
                <a:cubicBezTo>
                  <a:pt x="11842167" y="657334"/>
                  <a:pt x="11857226" y="636392"/>
                  <a:pt x="11857226" y="597098"/>
                </a:cubicBezTo>
                <a:lnTo>
                  <a:pt x="11857226" y="296863"/>
                </a:lnTo>
                <a:close/>
                <a:moveTo>
                  <a:pt x="11351579" y="296863"/>
                </a:moveTo>
                <a:cubicBezTo>
                  <a:pt x="11297226" y="296863"/>
                  <a:pt x="11280755" y="333098"/>
                  <a:pt x="11280755" y="373334"/>
                </a:cubicBezTo>
                <a:cubicBezTo>
                  <a:pt x="11280755" y="416628"/>
                  <a:pt x="11298637" y="452863"/>
                  <a:pt x="11348049" y="452863"/>
                </a:cubicBezTo>
                <a:lnTo>
                  <a:pt x="11467814" y="452863"/>
                </a:lnTo>
                <a:cubicBezTo>
                  <a:pt x="11504520" y="452863"/>
                  <a:pt x="11504520" y="481098"/>
                  <a:pt x="11504520" y="494039"/>
                </a:cubicBezTo>
                <a:cubicBezTo>
                  <a:pt x="11504520" y="506039"/>
                  <a:pt x="11504520" y="530745"/>
                  <a:pt x="11468755" y="530745"/>
                </a:cubicBezTo>
                <a:lnTo>
                  <a:pt x="11285461" y="530745"/>
                </a:lnTo>
                <a:lnTo>
                  <a:pt x="11285461" y="572863"/>
                </a:lnTo>
                <a:lnTo>
                  <a:pt x="11489932" y="572863"/>
                </a:lnTo>
                <a:cubicBezTo>
                  <a:pt x="11540991" y="572863"/>
                  <a:pt x="11555579" y="542981"/>
                  <a:pt x="11555579" y="494510"/>
                </a:cubicBezTo>
                <a:cubicBezTo>
                  <a:pt x="11555579" y="436863"/>
                  <a:pt x="11536755" y="411216"/>
                  <a:pt x="11493226" y="411216"/>
                </a:cubicBezTo>
                <a:lnTo>
                  <a:pt x="11363814" y="411216"/>
                </a:lnTo>
                <a:cubicBezTo>
                  <a:pt x="11331108" y="411216"/>
                  <a:pt x="11331108" y="389098"/>
                  <a:pt x="11331108" y="374510"/>
                </a:cubicBezTo>
                <a:cubicBezTo>
                  <a:pt x="11331108" y="362981"/>
                  <a:pt x="11334402" y="338981"/>
                  <a:pt x="11369226" y="338981"/>
                </a:cubicBezTo>
                <a:lnTo>
                  <a:pt x="11545932" y="338981"/>
                </a:lnTo>
                <a:lnTo>
                  <a:pt x="11545932" y="297098"/>
                </a:lnTo>
                <a:close/>
                <a:moveTo>
                  <a:pt x="10863343" y="296863"/>
                </a:moveTo>
                <a:lnTo>
                  <a:pt x="10863343" y="572628"/>
                </a:lnTo>
                <a:lnTo>
                  <a:pt x="10913696" y="572628"/>
                </a:lnTo>
                <a:lnTo>
                  <a:pt x="10913696" y="338745"/>
                </a:lnTo>
                <a:lnTo>
                  <a:pt x="11028990" y="338745"/>
                </a:lnTo>
                <a:lnTo>
                  <a:pt x="11028990" y="572628"/>
                </a:lnTo>
                <a:lnTo>
                  <a:pt x="11079578" y="572628"/>
                </a:lnTo>
                <a:lnTo>
                  <a:pt x="11079578" y="338745"/>
                </a:lnTo>
                <a:lnTo>
                  <a:pt x="11156284" y="338745"/>
                </a:lnTo>
                <a:cubicBezTo>
                  <a:pt x="11182167" y="338745"/>
                  <a:pt x="11200520" y="354275"/>
                  <a:pt x="11200520" y="387922"/>
                </a:cubicBezTo>
                <a:lnTo>
                  <a:pt x="11200520" y="572628"/>
                </a:lnTo>
                <a:lnTo>
                  <a:pt x="11250873" y="572628"/>
                </a:lnTo>
                <a:lnTo>
                  <a:pt x="11250873" y="374039"/>
                </a:lnTo>
                <a:cubicBezTo>
                  <a:pt x="11250873" y="336392"/>
                  <a:pt x="11231579" y="296863"/>
                  <a:pt x="11181696" y="296863"/>
                </a:cubicBezTo>
                <a:close/>
                <a:moveTo>
                  <a:pt x="0" y="0"/>
                </a:moveTo>
                <a:lnTo>
                  <a:pt x="12191999" y="0"/>
                </a:lnTo>
                <a:lnTo>
                  <a:pt x="12191999" y="6857999"/>
                </a:lnTo>
                <a:lnTo>
                  <a:pt x="0" y="6857999"/>
                </a:lnTo>
                <a:close/>
              </a:path>
            </a:pathLst>
          </a:custGeom>
          <a:solidFill>
            <a:schemeClr val="bg2"/>
          </a:solidFill>
        </p:spPr>
        <p:txBody>
          <a:bodyPr wrap="square">
            <a:noAutofit/>
          </a:bodyPr>
          <a:lstStyle>
            <a:lvl1pPr rtl="0">
              <a:defRPr>
                <a:solidFill>
                  <a:schemeClr val="tx1"/>
                </a:solidFill>
              </a:defRPr>
            </a:lvl1pPr>
          </a:lstStyle>
          <a:p>
            <a:r>
              <a:rPr lang="de-DE"/>
              <a:t>Bild durch Klicken auf Symbol hinzufügen</a:t>
            </a:r>
          </a:p>
        </p:txBody>
      </p:sp>
      <p:sp>
        <p:nvSpPr>
          <p:cNvPr id="20" name="Titel 19">
            <a:extLst>
              <a:ext uri="{FF2B5EF4-FFF2-40B4-BE49-F238E27FC236}">
                <a16:creationId xmlns:a16="http://schemas.microsoft.com/office/drawing/2014/main" id="{6691336D-DEFA-58EA-01B5-FC8DA046D838}"/>
              </a:ext>
            </a:extLst>
          </p:cNvPr>
          <p:cNvSpPr>
            <a:spLocks noGrp="1"/>
          </p:cNvSpPr>
          <p:nvPr>
            <p:ph type="title"/>
          </p:nvPr>
        </p:nvSpPr>
        <p:spPr bwMode="gray">
          <a:xfrm>
            <a:off x="623890" y="620713"/>
            <a:ext cx="5400543" cy="2664370"/>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16000" tIns="684000" rIns="216000" bIns="144000">
            <a:noAutofit/>
          </a:bodyPr>
          <a:lstStyle>
            <a:lvl1pPr rtl="0">
              <a:defRPr sz="2400"/>
            </a:lvl1pPr>
          </a:lstStyle>
          <a:p>
            <a:r>
              <a:rPr lang="de-DE"/>
              <a:t>Mastertitelformat bearbeiten</a:t>
            </a:r>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839905" y="823339"/>
            <a:ext cx="4968505" cy="246221"/>
          </a:xfrm>
          <a:noFill/>
        </p:spPr>
        <p:txBody>
          <a:bodyPr wrap="square" lIns="0" tIns="0" rIns="0" bIns="0" anchor="ctr">
            <a:noAutofit/>
          </a:bodyPr>
          <a:lstStyle>
            <a:lvl1pPr rtl="0">
              <a:defRPr sz="1600" b="0">
                <a:solidFill>
                  <a:schemeClr val="tx1"/>
                </a:solidFill>
              </a:defRPr>
            </a:lvl1pPr>
          </a:lstStyle>
          <a:p>
            <a:pPr lvl="0"/>
            <a:r>
              <a:rPr lang="de-DE" dirty="0" err="1"/>
              <a:t>Subtitle</a:t>
            </a:r>
            <a:r>
              <a:rPr lang="de-DE" dirty="0"/>
              <a:t> einfügen</a:t>
            </a:r>
          </a:p>
        </p:txBody>
      </p:sp>
      <p:sp>
        <p:nvSpPr>
          <p:cNvPr id="184" name="Fußzeilenplatzhalter 183">
            <a:extLst>
              <a:ext uri="{FF2B5EF4-FFF2-40B4-BE49-F238E27FC236}">
                <a16:creationId xmlns:a16="http://schemas.microsoft.com/office/drawing/2014/main" id="{E82C5B1A-27F8-7211-0276-989824FAA1C1}"/>
              </a:ext>
            </a:extLst>
          </p:cNvPr>
          <p:cNvSpPr>
            <a:spLocks noGrp="1"/>
          </p:cNvSpPr>
          <p:nvPr>
            <p:ph type="ftr" sz="quarter" idx="15"/>
          </p:nvPr>
        </p:nvSpPr>
        <p:spPr/>
        <p:txBody>
          <a:bodyPr/>
          <a:lstStyle>
            <a:lvl1pPr>
              <a:defRPr>
                <a:solidFill>
                  <a:schemeClr val="bg1"/>
                </a:solidFill>
              </a:defRPr>
            </a:lvl1pPr>
          </a:lstStyle>
          <a:p>
            <a:endParaRPr lang="en-US"/>
          </a:p>
        </p:txBody>
      </p:sp>
      <p:sp>
        <p:nvSpPr>
          <p:cNvPr id="185" name="Foliennummernplatzhalter 184">
            <a:extLst>
              <a:ext uri="{FF2B5EF4-FFF2-40B4-BE49-F238E27FC236}">
                <a16:creationId xmlns:a16="http://schemas.microsoft.com/office/drawing/2014/main" id="{C691B2D0-53EE-AF04-BBAF-FCE076AC44B4}"/>
              </a:ext>
            </a:extLst>
          </p:cNvPr>
          <p:cNvSpPr>
            <a:spLocks noGrp="1"/>
          </p:cNvSpPr>
          <p:nvPr>
            <p:ph type="sldNum" sz="quarter" idx="16"/>
          </p:nvPr>
        </p:nvSpPr>
        <p:spPr/>
        <p:txBody>
          <a:bodyPr/>
          <a:lstStyle>
            <a:lvl1pPr>
              <a:defRPr>
                <a:solidFill>
                  <a:schemeClr val="bg1"/>
                </a:solidFill>
              </a:defRPr>
            </a:lvl1pPr>
          </a:lstStyle>
          <a:p>
            <a:fld id="{C7D046C8-03B9-4997-9490-81EAE2ED7C49}" type="slidenum">
              <a:rPr lang="en-US" smtClean="0"/>
              <a:t>‹Nr.›</a:t>
            </a:fld>
            <a:endParaRPr lang="en-US"/>
          </a:p>
        </p:txBody>
      </p:sp>
      <p:grpSp>
        <p:nvGrpSpPr>
          <p:cNvPr id="186" name="Gruppieren 185">
            <a:extLst>
              <a:ext uri="{FF2B5EF4-FFF2-40B4-BE49-F238E27FC236}">
                <a16:creationId xmlns:a16="http://schemas.microsoft.com/office/drawing/2014/main" id="{A5FB2A22-BCE5-7162-28CA-89CC0696AEB2}"/>
              </a:ext>
              <a:ext uri="{C183D7F6-B498-43B3-948B-1728B52AA6E4}">
                <adec:decorative xmlns:adec="http://schemas.microsoft.com/office/drawing/2017/decorative" val="1"/>
              </a:ext>
            </a:extLst>
          </p:cNvPr>
          <p:cNvGrpSpPr/>
          <p:nvPr/>
        </p:nvGrpSpPr>
        <p:grpSpPr bwMode="gray">
          <a:xfrm>
            <a:off x="-254000" y="296863"/>
            <a:ext cx="144000" cy="6300787"/>
            <a:chOff x="0" y="296863"/>
            <a:chExt cx="12192000" cy="6300787"/>
          </a:xfrm>
        </p:grpSpPr>
        <p:cxnSp>
          <p:nvCxnSpPr>
            <p:cNvPr id="187" name="Gerader Verbinder 186">
              <a:extLst>
                <a:ext uri="{FF2B5EF4-FFF2-40B4-BE49-F238E27FC236}">
                  <a16:creationId xmlns:a16="http://schemas.microsoft.com/office/drawing/2014/main" id="{7041D5FA-5FEF-1BB8-AB72-9F37E5C02C1F}"/>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8" name="Gerader Verbinder 187">
              <a:extLst>
                <a:ext uri="{FF2B5EF4-FFF2-40B4-BE49-F238E27FC236}">
                  <a16:creationId xmlns:a16="http://schemas.microsoft.com/office/drawing/2014/main" id="{AE717BC7-E3C8-DA92-5FDA-981BD85ADB9A}"/>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9" name="Gerader Verbinder 188">
              <a:extLst>
                <a:ext uri="{FF2B5EF4-FFF2-40B4-BE49-F238E27FC236}">
                  <a16:creationId xmlns:a16="http://schemas.microsoft.com/office/drawing/2014/main" id="{D7E86BE0-265C-96E3-85D2-4890E4017F60}"/>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0" name="Gerader Verbinder 189">
              <a:extLst>
                <a:ext uri="{FF2B5EF4-FFF2-40B4-BE49-F238E27FC236}">
                  <a16:creationId xmlns:a16="http://schemas.microsoft.com/office/drawing/2014/main" id="{65AC91D6-676A-FCFB-67AE-7496AD2896E1}"/>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1" name="Gerader Verbinder 190">
              <a:extLst>
                <a:ext uri="{FF2B5EF4-FFF2-40B4-BE49-F238E27FC236}">
                  <a16:creationId xmlns:a16="http://schemas.microsoft.com/office/drawing/2014/main" id="{727D8FC1-B3E6-0E5C-8B89-66E2C3E366EA}"/>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2" name="Gerader Verbinder 191">
              <a:extLst>
                <a:ext uri="{FF2B5EF4-FFF2-40B4-BE49-F238E27FC236}">
                  <a16:creationId xmlns:a16="http://schemas.microsoft.com/office/drawing/2014/main" id="{0E2B846D-D49C-8000-E81A-21DA1631E79F}"/>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7369A8F8-A82A-AB82-EF7D-1DCFE04C6F3E}"/>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4" name="Gruppieren 193">
            <a:extLst>
              <a:ext uri="{FF2B5EF4-FFF2-40B4-BE49-F238E27FC236}">
                <a16:creationId xmlns:a16="http://schemas.microsoft.com/office/drawing/2014/main" id="{83177ED3-E48D-964D-BDFC-A7C1E5FECFF6}"/>
              </a:ext>
              <a:ext uri="{C183D7F6-B498-43B3-948B-1728B52AA6E4}">
                <adec:decorative xmlns:adec="http://schemas.microsoft.com/office/drawing/2017/decorative" val="1"/>
              </a:ext>
            </a:extLst>
          </p:cNvPr>
          <p:cNvGrpSpPr/>
          <p:nvPr/>
        </p:nvGrpSpPr>
        <p:grpSpPr bwMode="gray">
          <a:xfrm>
            <a:off x="12301940" y="296863"/>
            <a:ext cx="144000" cy="6300787"/>
            <a:chOff x="0" y="296863"/>
            <a:chExt cx="12192000" cy="6300787"/>
          </a:xfrm>
        </p:grpSpPr>
        <p:cxnSp>
          <p:nvCxnSpPr>
            <p:cNvPr id="195" name="Gerader Verbinder 194">
              <a:extLst>
                <a:ext uri="{FF2B5EF4-FFF2-40B4-BE49-F238E27FC236}">
                  <a16:creationId xmlns:a16="http://schemas.microsoft.com/office/drawing/2014/main" id="{5C2AA6AC-8BDD-F576-F366-48EDBF3038C5}"/>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E7A8DDA3-8116-AB7A-DB81-A31351374741}"/>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8958283E-34B4-A9C4-C2B7-AE455F943BBF}"/>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8E24D391-E25A-D774-F30C-84428E5B66F8}"/>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82ECFEA5-F8D5-A65C-D5DF-4AA923F67D8E}"/>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E61119F1-A205-8424-66DD-DBA74ACBFDB2}"/>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76621255-92C9-D570-982C-322718348BF8}"/>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0" name="Gruppieren 39">
            <a:extLst>
              <a:ext uri="{FF2B5EF4-FFF2-40B4-BE49-F238E27FC236}">
                <a16:creationId xmlns:a16="http://schemas.microsoft.com/office/drawing/2014/main" id="{972EC8B1-6F15-51F0-E428-6FA5E2620AD0}"/>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41" name="Gerader Verbinder 40">
              <a:extLst>
                <a:ext uri="{FF2B5EF4-FFF2-40B4-BE49-F238E27FC236}">
                  <a16:creationId xmlns:a16="http://schemas.microsoft.com/office/drawing/2014/main" id="{BF567219-870D-73A9-2074-57D7AC9AC10C}"/>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F09652A2-DD7E-4F53-6538-3F7FB33CD483}"/>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1" name="Gruppieren 50">
            <a:extLst>
              <a:ext uri="{FF2B5EF4-FFF2-40B4-BE49-F238E27FC236}">
                <a16:creationId xmlns:a16="http://schemas.microsoft.com/office/drawing/2014/main" id="{6B4B7644-61B5-36B2-67FD-E2A353161E7C}"/>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52" name="Gerader Verbinder 51">
              <a:extLst>
                <a:ext uri="{FF2B5EF4-FFF2-40B4-BE49-F238E27FC236}">
                  <a16:creationId xmlns:a16="http://schemas.microsoft.com/office/drawing/2014/main" id="{551B1EE3-E64F-C143-F6EA-3D35D8C489F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9C01DC83-47DD-11CE-C2E9-5BF49282ADE9}"/>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07499855"/>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folie 2">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762123-A025-4D74-4EAD-B98BCC05F347}"/>
              </a:ext>
            </a:extLst>
          </p:cNvPr>
          <p:cNvGraphicFramePr>
            <a:graphicFrameLocks noChangeAspect="1"/>
          </p:cNvGraphicFramePr>
          <p:nvPr>
            <p:custDataLst>
              <p:tags r:id="rId1"/>
            </p:custDataLst>
            <p:extLst>
              <p:ext uri="{D42A27DB-BD31-4B8C-83A1-F6EECF244321}">
                <p14:modId xmlns:p14="http://schemas.microsoft.com/office/powerpoint/2010/main" val="277460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3B762123-A025-4D74-4EAD-B98BCC05F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ildplatzhalter 2" descr="Bild füllt die komplette Folie aus, im unteren Bereich Titel und Untertitel, Bild ist änderbar.">
            <a:extLst>
              <a:ext uri="{FF2B5EF4-FFF2-40B4-BE49-F238E27FC236}">
                <a16:creationId xmlns:a16="http://schemas.microsoft.com/office/drawing/2014/main" id="{38700619-D30A-0E99-296D-8DC5DBAEDD18}"/>
              </a:ext>
              <a:ext uri="{C183D7F6-B498-43B3-948B-1728B52AA6E4}">
                <adec:decorative xmlns:adec="http://schemas.microsoft.com/office/drawing/2017/decorative" val="0"/>
              </a:ext>
            </a:extLst>
          </p:cNvPr>
          <p:cNvSpPr>
            <a:spLocks noGrp="1"/>
          </p:cNvSpPr>
          <p:nvPr>
            <p:ph type="pic" sz="quarter" idx="11"/>
          </p:nvPr>
        </p:nvSpPr>
        <p:spPr bwMode="gray">
          <a:xfrm>
            <a:off x="0" y="0"/>
            <a:ext cx="12192000" cy="6858000"/>
          </a:xfrm>
          <a:custGeom>
            <a:avLst/>
            <a:gdLst>
              <a:gd name="connsiteX0" fmla="*/ 9867883 w 12192000"/>
              <a:gd name="connsiteY0" fmla="*/ 758344 h 6858000"/>
              <a:gd name="connsiteX1" fmla="*/ 9768114 w 12192000"/>
              <a:gd name="connsiteY1" fmla="*/ 857952 h 6858000"/>
              <a:gd name="connsiteX2" fmla="*/ 9867883 w 12192000"/>
              <a:gd name="connsiteY2" fmla="*/ 957326 h 6858000"/>
              <a:gd name="connsiteX3" fmla="*/ 9967651 w 12192000"/>
              <a:gd name="connsiteY3" fmla="*/ 857835 h 6858000"/>
              <a:gd name="connsiteX4" fmla="*/ 9867883 w 12192000"/>
              <a:gd name="connsiteY4" fmla="*/ 758344 h 6858000"/>
              <a:gd name="connsiteX5" fmla="*/ 11428213 w 12192000"/>
              <a:gd name="connsiteY5" fmla="*/ 566781 h 6858000"/>
              <a:gd name="connsiteX6" fmla="*/ 11600036 w 12192000"/>
              <a:gd name="connsiteY6" fmla="*/ 566781 h 6858000"/>
              <a:gd name="connsiteX7" fmla="*/ 11600036 w 12192000"/>
              <a:gd name="connsiteY7" fmla="*/ 884916 h 6858000"/>
              <a:gd name="connsiteX8" fmla="*/ 11599918 w 12192000"/>
              <a:gd name="connsiteY8" fmla="*/ 884798 h 6858000"/>
              <a:gd name="connsiteX9" fmla="*/ 11424439 w 12192000"/>
              <a:gd name="connsiteY9" fmla="*/ 884798 h 6858000"/>
              <a:gd name="connsiteX10" fmla="*/ 11318655 w 12192000"/>
              <a:gd name="connsiteY10" fmla="*/ 821689 h 6858000"/>
              <a:gd name="connsiteX11" fmla="*/ 11318655 w 12192000"/>
              <a:gd name="connsiteY11" fmla="*/ 722552 h 6858000"/>
              <a:gd name="connsiteX12" fmla="*/ 11318655 w 12192000"/>
              <a:gd name="connsiteY12" fmla="*/ 640958 h 6858000"/>
              <a:gd name="connsiteX13" fmla="*/ 11428213 w 12192000"/>
              <a:gd name="connsiteY13" fmla="*/ 566781 h 6858000"/>
              <a:gd name="connsiteX14" fmla="*/ 11398966 w 12192000"/>
              <a:gd name="connsiteY14" fmla="*/ 497078 h 6858000"/>
              <a:gd name="connsiteX15" fmla="*/ 11276200 w 12192000"/>
              <a:gd name="connsiteY15" fmla="*/ 525218 h 6858000"/>
              <a:gd name="connsiteX16" fmla="*/ 11233038 w 12192000"/>
              <a:gd name="connsiteY16" fmla="*/ 642252 h 6858000"/>
              <a:gd name="connsiteX17" fmla="*/ 11233038 w 12192000"/>
              <a:gd name="connsiteY17" fmla="*/ 807442 h 6858000"/>
              <a:gd name="connsiteX18" fmla="*/ 11278795 w 12192000"/>
              <a:gd name="connsiteY18" fmla="*/ 930835 h 6858000"/>
              <a:gd name="connsiteX19" fmla="*/ 11399201 w 12192000"/>
              <a:gd name="connsiteY19" fmla="*/ 954619 h 6858000"/>
              <a:gd name="connsiteX20" fmla="*/ 11599918 w 12192000"/>
              <a:gd name="connsiteY20" fmla="*/ 954619 h 6858000"/>
              <a:gd name="connsiteX21" fmla="*/ 11599918 w 12192000"/>
              <a:gd name="connsiteY21" fmla="*/ 972279 h 6858000"/>
              <a:gd name="connsiteX22" fmla="*/ 11553571 w 12192000"/>
              <a:gd name="connsiteY22" fmla="*/ 1021848 h 6858000"/>
              <a:gd name="connsiteX23" fmla="*/ 11292003 w 12192000"/>
              <a:gd name="connsiteY23" fmla="*/ 1021848 h 6858000"/>
              <a:gd name="connsiteX24" fmla="*/ 11292003 w 12192000"/>
              <a:gd name="connsiteY24" fmla="*/ 1095083 h 6858000"/>
              <a:gd name="connsiteX25" fmla="*/ 11580342 w 12192000"/>
              <a:gd name="connsiteY25" fmla="*/ 1095083 h 6858000"/>
              <a:gd name="connsiteX26" fmla="*/ 11683294 w 12192000"/>
              <a:gd name="connsiteY26" fmla="*/ 995356 h 6858000"/>
              <a:gd name="connsiteX27" fmla="*/ 11683294 w 12192000"/>
              <a:gd name="connsiteY27" fmla="*/ 497078 h 6858000"/>
              <a:gd name="connsiteX28" fmla="*/ 11399084 w 12192000"/>
              <a:gd name="connsiteY28" fmla="*/ 497078 h 6858000"/>
              <a:gd name="connsiteX29" fmla="*/ 10842807 w 12192000"/>
              <a:gd name="connsiteY29" fmla="*/ 497078 h 6858000"/>
              <a:gd name="connsiteX30" fmla="*/ 10725114 w 12192000"/>
              <a:gd name="connsiteY30" fmla="*/ 624003 h 6858000"/>
              <a:gd name="connsiteX31" fmla="*/ 10837029 w 12192000"/>
              <a:gd name="connsiteY31" fmla="*/ 755990 h 6858000"/>
              <a:gd name="connsiteX32" fmla="*/ 11036095 w 12192000"/>
              <a:gd name="connsiteY32" fmla="*/ 755990 h 6858000"/>
              <a:gd name="connsiteX33" fmla="*/ 11097065 w 12192000"/>
              <a:gd name="connsiteY33" fmla="*/ 824044 h 6858000"/>
              <a:gd name="connsiteX34" fmla="*/ 11037629 w 12192000"/>
              <a:gd name="connsiteY34" fmla="*/ 884680 h 6858000"/>
              <a:gd name="connsiteX35" fmla="*/ 10732897 w 12192000"/>
              <a:gd name="connsiteY35" fmla="*/ 884680 h 6858000"/>
              <a:gd name="connsiteX36" fmla="*/ 10732897 w 12192000"/>
              <a:gd name="connsiteY36" fmla="*/ 954383 h 6858000"/>
              <a:gd name="connsiteX37" fmla="*/ 11072536 w 12192000"/>
              <a:gd name="connsiteY37" fmla="*/ 954383 h 6858000"/>
              <a:gd name="connsiteX38" fmla="*/ 11181502 w 12192000"/>
              <a:gd name="connsiteY38" fmla="*/ 824633 h 6858000"/>
              <a:gd name="connsiteX39" fmla="*/ 11077843 w 12192000"/>
              <a:gd name="connsiteY39" fmla="*/ 686405 h 6858000"/>
              <a:gd name="connsiteX40" fmla="*/ 10862856 w 12192000"/>
              <a:gd name="connsiteY40" fmla="*/ 686405 h 6858000"/>
              <a:gd name="connsiteX41" fmla="*/ 10808608 w 12192000"/>
              <a:gd name="connsiteY41" fmla="*/ 625416 h 6858000"/>
              <a:gd name="connsiteX42" fmla="*/ 10872173 w 12192000"/>
              <a:gd name="connsiteY42" fmla="*/ 566663 h 6858000"/>
              <a:gd name="connsiteX43" fmla="*/ 11165818 w 12192000"/>
              <a:gd name="connsiteY43" fmla="*/ 566663 h 6858000"/>
              <a:gd name="connsiteX44" fmla="*/ 11165818 w 12192000"/>
              <a:gd name="connsiteY44" fmla="*/ 497078 h 6858000"/>
              <a:gd name="connsiteX45" fmla="*/ 10031805 w 12192000"/>
              <a:gd name="connsiteY45" fmla="*/ 497078 h 6858000"/>
              <a:gd name="connsiteX46" fmla="*/ 10031805 w 12192000"/>
              <a:gd name="connsiteY46" fmla="*/ 954500 h 6858000"/>
              <a:gd name="connsiteX47" fmla="*/ 10115417 w 12192000"/>
              <a:gd name="connsiteY47" fmla="*/ 954500 h 6858000"/>
              <a:gd name="connsiteX48" fmla="*/ 10115417 w 12192000"/>
              <a:gd name="connsiteY48" fmla="*/ 566663 h 6858000"/>
              <a:gd name="connsiteX49" fmla="*/ 10306935 w 12192000"/>
              <a:gd name="connsiteY49" fmla="*/ 566663 h 6858000"/>
              <a:gd name="connsiteX50" fmla="*/ 10306935 w 12192000"/>
              <a:gd name="connsiteY50" fmla="*/ 954500 h 6858000"/>
              <a:gd name="connsiteX51" fmla="*/ 10390784 w 12192000"/>
              <a:gd name="connsiteY51" fmla="*/ 954500 h 6858000"/>
              <a:gd name="connsiteX52" fmla="*/ 10390784 w 12192000"/>
              <a:gd name="connsiteY52" fmla="*/ 566663 h 6858000"/>
              <a:gd name="connsiteX53" fmla="*/ 10518148 w 12192000"/>
              <a:gd name="connsiteY53" fmla="*/ 566663 h 6858000"/>
              <a:gd name="connsiteX54" fmla="*/ 10591501 w 12192000"/>
              <a:gd name="connsiteY54" fmla="*/ 648375 h 6858000"/>
              <a:gd name="connsiteX55" fmla="*/ 10591501 w 12192000"/>
              <a:gd name="connsiteY55" fmla="*/ 954500 h 6858000"/>
              <a:gd name="connsiteX56" fmla="*/ 10675230 w 12192000"/>
              <a:gd name="connsiteY56" fmla="*/ 954500 h 6858000"/>
              <a:gd name="connsiteX57" fmla="*/ 10675230 w 12192000"/>
              <a:gd name="connsiteY57" fmla="*/ 625180 h 6858000"/>
              <a:gd name="connsiteX58" fmla="*/ 10560367 w 12192000"/>
              <a:gd name="connsiteY58" fmla="*/ 497078 h 6858000"/>
              <a:gd name="connsiteX59" fmla="*/ 0 w 12192000"/>
              <a:gd name="connsiteY59" fmla="*/ 0 h 6858000"/>
              <a:gd name="connsiteX60" fmla="*/ 12192000 w 12192000"/>
              <a:gd name="connsiteY60" fmla="*/ 0 h 6858000"/>
              <a:gd name="connsiteX61" fmla="*/ 12192000 w 12192000"/>
              <a:gd name="connsiteY61" fmla="*/ 6858000 h 6858000"/>
              <a:gd name="connsiteX62" fmla="*/ 0 w 12192000"/>
              <a:gd name="connsiteY6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2192000" h="6858000">
                <a:moveTo>
                  <a:pt x="9867883" y="758344"/>
                </a:moveTo>
                <a:cubicBezTo>
                  <a:pt x="9812810" y="758344"/>
                  <a:pt x="9768114" y="802968"/>
                  <a:pt x="9768114" y="857952"/>
                </a:cubicBezTo>
                <a:cubicBezTo>
                  <a:pt x="9768114" y="912820"/>
                  <a:pt x="9812810" y="957326"/>
                  <a:pt x="9867883" y="957326"/>
                </a:cubicBezTo>
                <a:cubicBezTo>
                  <a:pt x="9922955" y="957326"/>
                  <a:pt x="9967651" y="912702"/>
                  <a:pt x="9967651" y="857835"/>
                </a:cubicBezTo>
                <a:cubicBezTo>
                  <a:pt x="9967651" y="802968"/>
                  <a:pt x="9922955" y="758344"/>
                  <a:pt x="9867883" y="758344"/>
                </a:cubicBezTo>
                <a:close/>
                <a:moveTo>
                  <a:pt x="11428213" y="566781"/>
                </a:moveTo>
                <a:cubicBezTo>
                  <a:pt x="11433283" y="566898"/>
                  <a:pt x="11600036" y="566781"/>
                  <a:pt x="11600036" y="566781"/>
                </a:cubicBezTo>
                <a:lnTo>
                  <a:pt x="11600036" y="884916"/>
                </a:lnTo>
                <a:lnTo>
                  <a:pt x="11599918" y="884798"/>
                </a:lnTo>
                <a:lnTo>
                  <a:pt x="11424439" y="884798"/>
                </a:lnTo>
                <a:cubicBezTo>
                  <a:pt x="11372550" y="885151"/>
                  <a:pt x="11319952" y="888683"/>
                  <a:pt x="11318655" y="821689"/>
                </a:cubicBezTo>
                <a:cubicBezTo>
                  <a:pt x="11318655" y="818863"/>
                  <a:pt x="11318420" y="794255"/>
                  <a:pt x="11318655" y="722552"/>
                </a:cubicBezTo>
                <a:cubicBezTo>
                  <a:pt x="11318891" y="661680"/>
                  <a:pt x="11318302" y="647198"/>
                  <a:pt x="11318655" y="640958"/>
                </a:cubicBezTo>
                <a:cubicBezTo>
                  <a:pt x="11321486" y="584795"/>
                  <a:pt x="11342360" y="564779"/>
                  <a:pt x="11428213" y="566781"/>
                </a:cubicBezTo>
                <a:close/>
                <a:moveTo>
                  <a:pt x="11398966" y="497078"/>
                </a:moveTo>
                <a:cubicBezTo>
                  <a:pt x="11324434" y="497078"/>
                  <a:pt x="11296603" y="508970"/>
                  <a:pt x="11276200" y="525218"/>
                </a:cubicBezTo>
                <a:cubicBezTo>
                  <a:pt x="11253912" y="542998"/>
                  <a:pt x="11233392" y="565485"/>
                  <a:pt x="11233038" y="642252"/>
                </a:cubicBezTo>
                <a:lnTo>
                  <a:pt x="11233038" y="807442"/>
                </a:lnTo>
                <a:cubicBezTo>
                  <a:pt x="11233038" y="888683"/>
                  <a:pt x="11255681" y="911408"/>
                  <a:pt x="11278795" y="930835"/>
                </a:cubicBezTo>
                <a:cubicBezTo>
                  <a:pt x="11294362" y="941903"/>
                  <a:pt x="11320071" y="954619"/>
                  <a:pt x="11399201" y="954619"/>
                </a:cubicBezTo>
                <a:lnTo>
                  <a:pt x="11599918" y="954619"/>
                </a:lnTo>
                <a:cubicBezTo>
                  <a:pt x="11599918" y="954619"/>
                  <a:pt x="11599918" y="968629"/>
                  <a:pt x="11599918" y="972279"/>
                </a:cubicBezTo>
                <a:cubicBezTo>
                  <a:pt x="11599918" y="1006777"/>
                  <a:pt x="11593196" y="1021848"/>
                  <a:pt x="11553571" y="1021848"/>
                </a:cubicBezTo>
                <a:lnTo>
                  <a:pt x="11292003" y="1021848"/>
                </a:lnTo>
                <a:lnTo>
                  <a:pt x="11292003" y="1095083"/>
                </a:lnTo>
                <a:lnTo>
                  <a:pt x="11580342" y="1095083"/>
                </a:lnTo>
                <a:cubicBezTo>
                  <a:pt x="11658058" y="1095083"/>
                  <a:pt x="11683294" y="1060585"/>
                  <a:pt x="11683294" y="995356"/>
                </a:cubicBezTo>
                <a:lnTo>
                  <a:pt x="11683294" y="497078"/>
                </a:lnTo>
                <a:lnTo>
                  <a:pt x="11399084" y="497078"/>
                </a:lnTo>
                <a:close/>
                <a:moveTo>
                  <a:pt x="10842807" y="497078"/>
                </a:moveTo>
                <a:cubicBezTo>
                  <a:pt x="10752474" y="497078"/>
                  <a:pt x="10725114" y="557008"/>
                  <a:pt x="10725114" y="624003"/>
                </a:cubicBezTo>
                <a:cubicBezTo>
                  <a:pt x="10725114" y="695589"/>
                  <a:pt x="10754950" y="755990"/>
                  <a:pt x="10837029" y="755990"/>
                </a:cubicBezTo>
                <a:lnTo>
                  <a:pt x="11036095" y="755990"/>
                </a:lnTo>
                <a:cubicBezTo>
                  <a:pt x="11097065" y="755990"/>
                  <a:pt x="11097065" y="802733"/>
                  <a:pt x="11097065" y="824044"/>
                </a:cubicBezTo>
                <a:cubicBezTo>
                  <a:pt x="11097065" y="843824"/>
                  <a:pt x="11097065" y="884680"/>
                  <a:pt x="11037629" y="884680"/>
                </a:cubicBezTo>
                <a:lnTo>
                  <a:pt x="10732897" y="884680"/>
                </a:lnTo>
                <a:lnTo>
                  <a:pt x="10732897" y="954383"/>
                </a:lnTo>
                <a:lnTo>
                  <a:pt x="11072536" y="954383"/>
                </a:lnTo>
                <a:cubicBezTo>
                  <a:pt x="11157209" y="954383"/>
                  <a:pt x="11181502" y="904697"/>
                  <a:pt x="11181502" y="824633"/>
                </a:cubicBezTo>
                <a:cubicBezTo>
                  <a:pt x="11181502" y="729145"/>
                  <a:pt x="11150251" y="686405"/>
                  <a:pt x="11077843" y="686405"/>
                </a:cubicBezTo>
                <a:lnTo>
                  <a:pt x="10862856" y="686405"/>
                </a:lnTo>
                <a:cubicBezTo>
                  <a:pt x="10808608" y="686405"/>
                  <a:pt x="10808608" y="649787"/>
                  <a:pt x="10808608" y="625416"/>
                </a:cubicBezTo>
                <a:cubicBezTo>
                  <a:pt x="10808608" y="606341"/>
                  <a:pt x="10814034" y="566663"/>
                  <a:pt x="10872173" y="566663"/>
                </a:cubicBezTo>
                <a:lnTo>
                  <a:pt x="11165818" y="566663"/>
                </a:lnTo>
                <a:lnTo>
                  <a:pt x="11165818" y="497078"/>
                </a:lnTo>
                <a:close/>
                <a:moveTo>
                  <a:pt x="10031805" y="497078"/>
                </a:moveTo>
                <a:lnTo>
                  <a:pt x="10031805" y="954500"/>
                </a:lnTo>
                <a:lnTo>
                  <a:pt x="10115417" y="954500"/>
                </a:lnTo>
                <a:lnTo>
                  <a:pt x="10115417" y="566663"/>
                </a:lnTo>
                <a:lnTo>
                  <a:pt x="10306935" y="566663"/>
                </a:lnTo>
                <a:lnTo>
                  <a:pt x="10306935" y="954500"/>
                </a:lnTo>
                <a:lnTo>
                  <a:pt x="10390784" y="954500"/>
                </a:lnTo>
                <a:lnTo>
                  <a:pt x="10390784" y="566663"/>
                </a:lnTo>
                <a:lnTo>
                  <a:pt x="10518148" y="566663"/>
                </a:lnTo>
                <a:cubicBezTo>
                  <a:pt x="10561192" y="566663"/>
                  <a:pt x="10591501" y="592449"/>
                  <a:pt x="10591501" y="648375"/>
                </a:cubicBezTo>
                <a:lnTo>
                  <a:pt x="10591501" y="954500"/>
                </a:lnTo>
                <a:lnTo>
                  <a:pt x="10675230" y="954500"/>
                </a:lnTo>
                <a:lnTo>
                  <a:pt x="10675230" y="625180"/>
                </a:lnTo>
                <a:cubicBezTo>
                  <a:pt x="10675348" y="562895"/>
                  <a:pt x="10643154" y="497078"/>
                  <a:pt x="10560367" y="497078"/>
                </a:cubicBezTo>
                <a:close/>
                <a:moveTo>
                  <a:pt x="0" y="0"/>
                </a:moveTo>
                <a:lnTo>
                  <a:pt x="12192000" y="0"/>
                </a:lnTo>
                <a:lnTo>
                  <a:pt x="12192000" y="6858000"/>
                </a:lnTo>
                <a:lnTo>
                  <a:pt x="0" y="6858000"/>
                </a:lnTo>
                <a:close/>
              </a:path>
            </a:pathLst>
          </a:custGeom>
          <a:solidFill>
            <a:schemeClr val="bg2"/>
          </a:solidFill>
        </p:spPr>
        <p:txBody>
          <a:bodyPr wrap="square">
            <a:noAutofit/>
          </a:bodyPr>
          <a:lstStyle/>
          <a:p>
            <a:r>
              <a:rPr lang="de-DE"/>
              <a:t>Bild durch Klicken auf Symbol hinzufügen</a:t>
            </a:r>
          </a:p>
        </p:txBody>
      </p:sp>
      <p:sp>
        <p:nvSpPr>
          <p:cNvPr id="85" name="Titel 84">
            <a:extLst>
              <a:ext uri="{FF2B5EF4-FFF2-40B4-BE49-F238E27FC236}">
                <a16:creationId xmlns:a16="http://schemas.microsoft.com/office/drawing/2014/main" id="{1C5AFEA5-AB8B-AE9B-F802-98E24FCBE5BF}"/>
              </a:ext>
            </a:extLst>
          </p:cNvPr>
          <p:cNvSpPr>
            <a:spLocks noGrp="1"/>
          </p:cNvSpPr>
          <p:nvPr>
            <p:ph type="ctrTitle"/>
          </p:nvPr>
        </p:nvSpPr>
        <p:spPr bwMode="gray">
          <a:xfrm>
            <a:off x="623888" y="3502024"/>
            <a:ext cx="8208831" cy="2590799"/>
          </a:xfrm>
          <a:custGeom>
            <a:avLst/>
            <a:gdLst>
              <a:gd name="connsiteX0" fmla="*/ 0 w 8253412"/>
              <a:gd name="connsiteY0" fmla="*/ 0 h 2522538"/>
              <a:gd name="connsiteX1" fmla="*/ 8033018 w 8253412"/>
              <a:gd name="connsiteY1" fmla="*/ 0 h 2522538"/>
              <a:gd name="connsiteX2" fmla="*/ 8253412 w 8253412"/>
              <a:gd name="connsiteY2" fmla="*/ 220394 h 2522538"/>
              <a:gd name="connsiteX3" fmla="*/ 8253412 w 8253412"/>
              <a:gd name="connsiteY3" fmla="*/ 2522538 h 2522538"/>
              <a:gd name="connsiteX4" fmla="*/ 220394 w 8253412"/>
              <a:gd name="connsiteY4" fmla="*/ 2522538 h 2522538"/>
              <a:gd name="connsiteX5" fmla="*/ 0 w 8253412"/>
              <a:gd name="connsiteY5" fmla="*/ 2302144 h 252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53412" h="2522538">
                <a:moveTo>
                  <a:pt x="0" y="0"/>
                </a:moveTo>
                <a:lnTo>
                  <a:pt x="8033018" y="0"/>
                </a:lnTo>
                <a:cubicBezTo>
                  <a:pt x="8154738" y="0"/>
                  <a:pt x="8253412" y="98674"/>
                  <a:pt x="8253412" y="220394"/>
                </a:cubicBezTo>
                <a:lnTo>
                  <a:pt x="8253412" y="2522538"/>
                </a:lnTo>
                <a:lnTo>
                  <a:pt x="220394" y="2522538"/>
                </a:lnTo>
                <a:cubicBezTo>
                  <a:pt x="98674" y="2522538"/>
                  <a:pt x="0" y="2423864"/>
                  <a:pt x="0" y="2302144"/>
                </a:cubicBezTo>
                <a:close/>
              </a:path>
            </a:pathLst>
          </a:custGeom>
          <a:solidFill>
            <a:schemeClr val="bg1"/>
          </a:solidFill>
        </p:spPr>
        <p:txBody>
          <a:bodyPr vert="horz" wrap="square" lIns="1404000" tIns="360000" anchor="t">
            <a:noAutofit/>
          </a:bodyPr>
          <a:lstStyle>
            <a:lvl1pPr algn="l" rtl="0">
              <a:defRPr sz="4000">
                <a:solidFill>
                  <a:schemeClr val="accent1"/>
                </a:solidFill>
              </a:defRPr>
            </a:lvl1pPr>
          </a:lstStyle>
          <a:p>
            <a:r>
              <a:rPr lang="de-DE"/>
              <a:t>Mastertitelformat bearbeiten</a:t>
            </a:r>
            <a:endParaRPr lang="de-DE" dirty="0"/>
          </a:p>
        </p:txBody>
      </p:sp>
      <p:sp>
        <p:nvSpPr>
          <p:cNvPr id="28" name="Textplatzhalter 27">
            <a:extLst>
              <a:ext uri="{FF2B5EF4-FFF2-40B4-BE49-F238E27FC236}">
                <a16:creationId xmlns:a16="http://schemas.microsoft.com/office/drawing/2014/main" id="{3426A492-33E3-F15D-C5C7-0F00867414D9}"/>
              </a:ext>
            </a:extLst>
          </p:cNvPr>
          <p:cNvSpPr>
            <a:spLocks noGrp="1"/>
          </p:cNvSpPr>
          <p:nvPr>
            <p:ph type="body" sz="quarter" idx="10" hasCustomPrompt="1"/>
          </p:nvPr>
        </p:nvSpPr>
        <p:spPr bwMode="gray">
          <a:xfrm>
            <a:off x="2082801" y="5425985"/>
            <a:ext cx="6426200" cy="369332"/>
          </a:xfrm>
          <a:noFill/>
        </p:spPr>
        <p:txBody>
          <a:bodyPr wrap="square" lIns="0" tIns="0" rIns="0" bIns="0" anchor="t">
            <a:noAutofit/>
          </a:bodyPr>
          <a:lstStyle>
            <a:lvl1pPr rtl="0">
              <a:defRPr sz="2400" b="0">
                <a:solidFill>
                  <a:schemeClr val="tx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0DE9058-D20E-CEB2-68D0-6D683A3480D1}"/>
              </a:ext>
              <a:ext uri="{C183D7F6-B498-43B3-948B-1728B52AA6E4}">
                <adec:decorative xmlns:adec="http://schemas.microsoft.com/office/drawing/2017/decorative" val="1"/>
              </a:ext>
            </a:extLst>
          </p:cNvPr>
          <p:cNvSpPr>
            <a:spLocks noGrp="1"/>
          </p:cNvSpPr>
          <p:nvPr>
            <p:ph type="body" sz="quarter" idx="12" hasCustomPrompt="1"/>
          </p:nvPr>
        </p:nvSpPr>
        <p:spPr>
          <a:xfrm>
            <a:off x="944423" y="2783872"/>
            <a:ext cx="1451115" cy="1451115"/>
          </a:xfrm>
          <a:blipFill>
            <a:blip r:embed="rId5"/>
            <a:stretch>
              <a:fillRect/>
            </a:stretch>
          </a:blipFill>
        </p:spPr>
        <p:txBody>
          <a:bodyPr/>
          <a:lstStyle>
            <a:lvl1pPr>
              <a:defRPr sz="100">
                <a:noFill/>
              </a:defRPr>
            </a:lvl1pPr>
          </a:lstStyle>
          <a:p>
            <a:pPr lvl="0"/>
            <a:r>
              <a:rPr lang="de-DE"/>
              <a:t> </a:t>
            </a:r>
          </a:p>
        </p:txBody>
      </p:sp>
      <p:grpSp>
        <p:nvGrpSpPr>
          <p:cNvPr id="53" name="Gruppieren 52">
            <a:extLst>
              <a:ext uri="{FF2B5EF4-FFF2-40B4-BE49-F238E27FC236}">
                <a16:creationId xmlns:a16="http://schemas.microsoft.com/office/drawing/2014/main" id="{85C1E315-C0D4-8B7B-87F8-FE0E3BE95C3A}"/>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54" name="Gerader Verbinder 53">
              <a:extLst>
                <a:ext uri="{FF2B5EF4-FFF2-40B4-BE49-F238E27FC236}">
                  <a16:creationId xmlns:a16="http://schemas.microsoft.com/office/drawing/2014/main" id="{0D2EE9B8-FCB5-399E-F125-5AFBAEDFBA21}"/>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CF643A00-ED75-68F1-DACD-28F2385EAC60}"/>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4" name="Gruppieren 63">
            <a:extLst>
              <a:ext uri="{FF2B5EF4-FFF2-40B4-BE49-F238E27FC236}">
                <a16:creationId xmlns:a16="http://schemas.microsoft.com/office/drawing/2014/main" id="{07468542-F8CC-4294-5B3D-C3EDAB94CCCD}"/>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65" name="Gerader Verbinder 64">
              <a:extLst>
                <a:ext uri="{FF2B5EF4-FFF2-40B4-BE49-F238E27FC236}">
                  <a16:creationId xmlns:a16="http://schemas.microsoft.com/office/drawing/2014/main" id="{2BA97CC8-699F-8396-7CF0-85B9A2F7D786}"/>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AFA303A7-B579-0788-374F-CBCD519146E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7" name="Gruppieren 106">
            <a:extLst>
              <a:ext uri="{FF2B5EF4-FFF2-40B4-BE49-F238E27FC236}">
                <a16:creationId xmlns:a16="http://schemas.microsoft.com/office/drawing/2014/main" id="{0FFB11FD-5603-A85E-7E6C-98D18828B75E}"/>
              </a:ext>
              <a:ext uri="{C183D7F6-B498-43B3-948B-1728B52AA6E4}">
                <adec:decorative xmlns:adec="http://schemas.microsoft.com/office/drawing/2017/decorative" val="1"/>
              </a:ext>
            </a:extLst>
          </p:cNvPr>
          <p:cNvGrpSpPr/>
          <p:nvPr/>
        </p:nvGrpSpPr>
        <p:grpSpPr bwMode="gray">
          <a:xfrm>
            <a:off x="-254000" y="296863"/>
            <a:ext cx="144000" cy="6300787"/>
            <a:chOff x="0" y="296863"/>
            <a:chExt cx="12192000" cy="6300787"/>
          </a:xfrm>
        </p:grpSpPr>
        <p:cxnSp>
          <p:nvCxnSpPr>
            <p:cNvPr id="108" name="Gerader Verbinder 107">
              <a:extLst>
                <a:ext uri="{FF2B5EF4-FFF2-40B4-BE49-F238E27FC236}">
                  <a16:creationId xmlns:a16="http://schemas.microsoft.com/office/drawing/2014/main" id="{2749D2E9-7EFF-A7FC-D65E-1AC784A7CD89}"/>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9" name="Gerader Verbinder 108">
              <a:extLst>
                <a:ext uri="{FF2B5EF4-FFF2-40B4-BE49-F238E27FC236}">
                  <a16:creationId xmlns:a16="http://schemas.microsoft.com/office/drawing/2014/main" id="{74D5BDE7-D3CD-5FF1-B688-34B9E5140D17}"/>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0" name="Gerader Verbinder 109">
              <a:extLst>
                <a:ext uri="{FF2B5EF4-FFF2-40B4-BE49-F238E27FC236}">
                  <a16:creationId xmlns:a16="http://schemas.microsoft.com/office/drawing/2014/main" id="{5E9C7C25-1933-BC6A-DB3E-6D5C34851E1A}"/>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7118A8B3-21EC-357B-D737-316C53323E88}"/>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2" name="Gerader Verbinder 111">
              <a:extLst>
                <a:ext uri="{FF2B5EF4-FFF2-40B4-BE49-F238E27FC236}">
                  <a16:creationId xmlns:a16="http://schemas.microsoft.com/office/drawing/2014/main" id="{85A19224-5EE4-7CCA-E52B-733A7C0E5949}"/>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ED0C12E0-83B2-3BC7-17E7-3A2A7136972A}"/>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id="{47E84BB0-6D19-1552-6395-59C0BDFF3D7F}"/>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15" name="Gruppieren 114">
            <a:extLst>
              <a:ext uri="{FF2B5EF4-FFF2-40B4-BE49-F238E27FC236}">
                <a16:creationId xmlns:a16="http://schemas.microsoft.com/office/drawing/2014/main" id="{72C44A55-22E9-D998-D105-EE8FE060E5BB}"/>
              </a:ext>
              <a:ext uri="{C183D7F6-B498-43B3-948B-1728B52AA6E4}">
                <adec:decorative xmlns:adec="http://schemas.microsoft.com/office/drawing/2017/decorative" val="1"/>
              </a:ext>
            </a:extLst>
          </p:cNvPr>
          <p:cNvGrpSpPr/>
          <p:nvPr/>
        </p:nvGrpSpPr>
        <p:grpSpPr bwMode="gray">
          <a:xfrm>
            <a:off x="12301940" y="296863"/>
            <a:ext cx="144000" cy="6300787"/>
            <a:chOff x="0" y="296863"/>
            <a:chExt cx="12192000" cy="6300787"/>
          </a:xfrm>
        </p:grpSpPr>
        <p:cxnSp>
          <p:nvCxnSpPr>
            <p:cNvPr id="116" name="Gerader Verbinder 115">
              <a:extLst>
                <a:ext uri="{FF2B5EF4-FFF2-40B4-BE49-F238E27FC236}">
                  <a16:creationId xmlns:a16="http://schemas.microsoft.com/office/drawing/2014/main" id="{869DD93A-B32E-4DD1-FF2C-1FC9304E5919}"/>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a16="http://schemas.microsoft.com/office/drawing/2014/main" id="{313063ED-0434-6B81-3979-EEEB8B3729E5}"/>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id="{6366CB3D-71E3-F59F-5731-2421DB9342DB}"/>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9" name="Gerader Verbinder 118">
              <a:extLst>
                <a:ext uri="{FF2B5EF4-FFF2-40B4-BE49-F238E27FC236}">
                  <a16:creationId xmlns:a16="http://schemas.microsoft.com/office/drawing/2014/main" id="{92DE8F93-E4A8-6D5B-9AD1-1320DF18522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0" name="Gerader Verbinder 119">
              <a:extLst>
                <a:ext uri="{FF2B5EF4-FFF2-40B4-BE49-F238E27FC236}">
                  <a16:creationId xmlns:a16="http://schemas.microsoft.com/office/drawing/2014/main" id="{116E9E51-1B14-0883-608D-6EE70B25BAE4}"/>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1" name="Gerader Verbinder 120">
              <a:extLst>
                <a:ext uri="{FF2B5EF4-FFF2-40B4-BE49-F238E27FC236}">
                  <a16:creationId xmlns:a16="http://schemas.microsoft.com/office/drawing/2014/main" id="{A996F359-5008-F2C0-3A4F-3CE19BAE67FD}"/>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2" name="Gerader Verbinder 121">
              <a:extLst>
                <a:ext uri="{FF2B5EF4-FFF2-40B4-BE49-F238E27FC236}">
                  <a16:creationId xmlns:a16="http://schemas.microsoft.com/office/drawing/2014/main" id="{E6DB519A-BC99-1D3C-F0EE-A9E63E3B2B45}"/>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80067538"/>
      </p:ext>
    </p:extLst>
  </p:cSld>
  <p:clrMapOvr>
    <a:masterClrMapping/>
  </p:clrMapOvr>
  <p:hf hdr="0" ft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Keymessage gelb">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3152565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descr="Bild füllt die komplette Folie aus, oben links Keymessage und Untertitel. Das Bild zeigt eine gelbe Wellenstruktur.">
            <a:extLst>
              <a:ext uri="{FF2B5EF4-FFF2-40B4-BE49-F238E27FC236}">
                <a16:creationId xmlns:a16="http://schemas.microsoft.com/office/drawing/2014/main" id="{5954209D-6538-1F59-7CA1-C53125F44D8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bwMode="gray">
          <a:xfrm>
            <a:off x="0" y="0"/>
            <a:ext cx="12192000" cy="6857999"/>
          </a:xfrm>
          <a:prstGeom prst="rect">
            <a:avLst/>
          </a:prstGeom>
        </p:spPr>
      </p:pic>
      <p:sp>
        <p:nvSpPr>
          <p:cNvPr id="5" name="Titel 4">
            <a:extLst>
              <a:ext uri="{FF2B5EF4-FFF2-40B4-BE49-F238E27FC236}">
                <a16:creationId xmlns:a16="http://schemas.microsoft.com/office/drawing/2014/main" id="{99C42C62-481A-C70F-8CB4-2E9CD95967AB}"/>
              </a:ext>
            </a:extLst>
          </p:cNvPr>
          <p:cNvSpPr>
            <a:spLocks noGrp="1"/>
          </p:cNvSpPr>
          <p:nvPr>
            <p:ph type="title"/>
          </p:nvPr>
        </p:nvSpPr>
        <p:spPr bwMode="gray">
          <a:xfrm>
            <a:off x="623890" y="620712"/>
            <a:ext cx="5400000" cy="2664000"/>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16000" tIns="684000" rIns="216000" bIns="144000">
            <a:noAutofit/>
          </a:bodyPr>
          <a:lstStyle>
            <a:lvl1pPr rtl="0">
              <a:defRPr sz="2400"/>
            </a:lvl1pPr>
          </a:lstStyle>
          <a:p>
            <a:r>
              <a:rPr lang="de-DE"/>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839905" y="823339"/>
            <a:ext cx="4968000" cy="246221"/>
          </a:xfrm>
          <a:noFill/>
        </p:spPr>
        <p:txBody>
          <a:bodyPr wrap="square" lIns="0" tIns="0" rIns="0" bIns="0" anchor="ctr">
            <a:noAutofit/>
          </a:bodyPr>
          <a:lstStyle>
            <a:lvl1pPr rtl="0">
              <a:defRPr sz="1600" b="0">
                <a:solidFill>
                  <a:schemeClr val="tx1"/>
                </a:solidFill>
              </a:defRPr>
            </a:lvl1pPr>
          </a:lstStyle>
          <a:p>
            <a:pPr lvl="0"/>
            <a:r>
              <a:rPr lang="de-DE" dirty="0" err="1"/>
              <a:t>Subtitle</a:t>
            </a:r>
            <a:r>
              <a:rPr lang="de-DE" dirty="0"/>
              <a:t> einfügen</a:t>
            </a:r>
          </a:p>
        </p:txBody>
      </p:sp>
      <p:sp>
        <p:nvSpPr>
          <p:cNvPr id="185" name="Fußzeilenplatzhalter 184">
            <a:extLst>
              <a:ext uri="{FF2B5EF4-FFF2-40B4-BE49-F238E27FC236}">
                <a16:creationId xmlns:a16="http://schemas.microsoft.com/office/drawing/2014/main" id="{14FDEAE1-4FB5-4A33-FE6C-40E5A50F09AC}"/>
              </a:ext>
            </a:extLst>
          </p:cNvPr>
          <p:cNvSpPr>
            <a:spLocks noGrp="1"/>
          </p:cNvSpPr>
          <p:nvPr>
            <p:ph type="ftr" sz="quarter" idx="13"/>
          </p:nvPr>
        </p:nvSpPr>
        <p:spPr/>
        <p:txBody>
          <a:bodyPr/>
          <a:lstStyle>
            <a:lvl1pPr>
              <a:defRPr>
                <a:solidFill>
                  <a:schemeClr val="bg1"/>
                </a:solidFill>
              </a:defRPr>
            </a:lvl1pPr>
          </a:lstStyle>
          <a:p>
            <a:endParaRPr lang="en-US"/>
          </a:p>
        </p:txBody>
      </p:sp>
      <p:sp>
        <p:nvSpPr>
          <p:cNvPr id="186" name="Foliennummernplatzhalter 185">
            <a:extLst>
              <a:ext uri="{FF2B5EF4-FFF2-40B4-BE49-F238E27FC236}">
                <a16:creationId xmlns:a16="http://schemas.microsoft.com/office/drawing/2014/main" id="{42679077-A045-2B6D-7D97-2CABB7B3F0CC}"/>
              </a:ext>
            </a:extLst>
          </p:cNvPr>
          <p:cNvSpPr>
            <a:spLocks noGrp="1"/>
          </p:cNvSpPr>
          <p:nvPr>
            <p:ph type="sldNum" sz="quarter" idx="14"/>
          </p:nvPr>
        </p:nvSpPr>
        <p:spPr/>
        <p:txBody>
          <a:bodyPr/>
          <a:lstStyle>
            <a:lvl1pPr>
              <a:defRPr>
                <a:solidFill>
                  <a:schemeClr val="bg1"/>
                </a:solidFill>
              </a:defRPr>
            </a:lvl1pPr>
          </a:lstStyle>
          <a:p>
            <a:fld id="{C7D046C8-03B9-4997-9490-81EAE2ED7C49}" type="slidenum">
              <a:rPr lang="en-US" smtClean="0"/>
              <a:t>‹Nr.›</a:t>
            </a:fld>
            <a:endParaRPr lang="en-US"/>
          </a:p>
        </p:txBody>
      </p:sp>
      <p:grpSp>
        <p:nvGrpSpPr>
          <p:cNvPr id="40" name="Gruppieren 39">
            <a:extLst>
              <a:ext uri="{FF2B5EF4-FFF2-40B4-BE49-F238E27FC236}">
                <a16:creationId xmlns:a16="http://schemas.microsoft.com/office/drawing/2014/main" id="{972EC8B1-6F15-51F0-E428-6FA5E2620AD0}"/>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41" name="Gerader Verbinder 40">
              <a:extLst>
                <a:ext uri="{FF2B5EF4-FFF2-40B4-BE49-F238E27FC236}">
                  <a16:creationId xmlns:a16="http://schemas.microsoft.com/office/drawing/2014/main" id="{BF567219-870D-73A9-2074-57D7AC9AC10C}"/>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F09652A2-DD7E-4F53-6538-3F7FB33CD483}"/>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1" name="Gruppieren 50">
            <a:extLst>
              <a:ext uri="{FF2B5EF4-FFF2-40B4-BE49-F238E27FC236}">
                <a16:creationId xmlns:a16="http://schemas.microsoft.com/office/drawing/2014/main" id="{6B4B7644-61B5-36B2-67FD-E2A353161E7C}"/>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52" name="Gerader Verbinder 51">
              <a:extLst>
                <a:ext uri="{FF2B5EF4-FFF2-40B4-BE49-F238E27FC236}">
                  <a16:creationId xmlns:a16="http://schemas.microsoft.com/office/drawing/2014/main" id="{551B1EE3-E64F-C143-F6EA-3D35D8C489F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9C01DC83-47DD-11CE-C2E9-5BF49282ADE9}"/>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6" name="Grafik 5">
            <a:extLst>
              <a:ext uri="{FF2B5EF4-FFF2-40B4-BE49-F238E27FC236}">
                <a16:creationId xmlns:a16="http://schemas.microsoft.com/office/drawing/2014/main" id="{7A5D8476-4187-5C37-8078-7168A03C1466}"/>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3552876728"/>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Keymessage grü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212342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Grafik 3" descr="Bild füllt die komplette Folie aus, oben links Keymessage und Untertitel. Das Bild zeigt eine grüne Wellenstruktur.">
            <a:extLst>
              <a:ext uri="{FF2B5EF4-FFF2-40B4-BE49-F238E27FC236}">
                <a16:creationId xmlns:a16="http://schemas.microsoft.com/office/drawing/2014/main" id="{E435F2FA-DC13-0092-B7C8-6FE9692BEBE8}"/>
              </a:ext>
              <a:ext uri="{C183D7F6-B498-43B3-948B-1728B52AA6E4}">
                <adec:decorative xmlns:adec="http://schemas.microsoft.com/office/drawing/2017/decorative" val="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bwMode="gray">
          <a:xfrm flipH="1">
            <a:off x="0" y="0"/>
            <a:ext cx="12192000" cy="6857999"/>
          </a:xfrm>
          <a:prstGeom prst="rect">
            <a:avLst/>
          </a:prstGeom>
        </p:spPr>
      </p:pic>
      <p:sp>
        <p:nvSpPr>
          <p:cNvPr id="5" name="Titel 4">
            <a:extLst>
              <a:ext uri="{FF2B5EF4-FFF2-40B4-BE49-F238E27FC236}">
                <a16:creationId xmlns:a16="http://schemas.microsoft.com/office/drawing/2014/main" id="{87F750BD-576D-BAF4-908D-604465D3B9C5}"/>
              </a:ext>
            </a:extLst>
          </p:cNvPr>
          <p:cNvSpPr>
            <a:spLocks noGrp="1"/>
          </p:cNvSpPr>
          <p:nvPr>
            <p:ph type="title"/>
          </p:nvPr>
        </p:nvSpPr>
        <p:spPr bwMode="gray">
          <a:xfrm>
            <a:off x="623890" y="620712"/>
            <a:ext cx="5400000" cy="2664000"/>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16000" tIns="684000" rIns="216000" bIns="144000">
            <a:noAutofit/>
          </a:bodyPr>
          <a:lstStyle>
            <a:lvl1pPr rtl="0">
              <a:defRPr sz="2400"/>
            </a:lvl1pPr>
          </a:lstStyle>
          <a:p>
            <a:r>
              <a:rPr lang="de-DE"/>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839905" y="823339"/>
            <a:ext cx="4968000" cy="246221"/>
          </a:xfrm>
          <a:noFill/>
        </p:spPr>
        <p:txBody>
          <a:bodyPr wrap="square" lIns="0" tIns="0" rIns="0" bIns="0" anchor="ctr">
            <a:noAutofit/>
          </a:bodyPr>
          <a:lstStyle>
            <a:lvl1pPr rtl="0">
              <a:defRPr sz="1600" b="0">
                <a:solidFill>
                  <a:schemeClr val="tx1"/>
                </a:solidFill>
              </a:defRPr>
            </a:lvl1pPr>
          </a:lstStyle>
          <a:p>
            <a:pPr lvl="0"/>
            <a:r>
              <a:rPr lang="de-DE" dirty="0" err="1"/>
              <a:t>Subtitle</a:t>
            </a:r>
            <a:r>
              <a:rPr lang="de-DE" dirty="0"/>
              <a:t> einfügen</a:t>
            </a:r>
          </a:p>
        </p:txBody>
      </p:sp>
      <p:sp>
        <p:nvSpPr>
          <p:cNvPr id="2" name="Fußzeilenplatzhalter 1">
            <a:extLst>
              <a:ext uri="{FF2B5EF4-FFF2-40B4-BE49-F238E27FC236}">
                <a16:creationId xmlns:a16="http://schemas.microsoft.com/office/drawing/2014/main" id="{A7C5717B-FE45-5028-C429-89AA2A8A9A67}"/>
              </a:ext>
            </a:extLst>
          </p:cNvPr>
          <p:cNvSpPr>
            <a:spLocks noGrp="1"/>
          </p:cNvSpPr>
          <p:nvPr>
            <p:ph type="ftr" sz="quarter" idx="13"/>
          </p:nvPr>
        </p:nvSpPr>
        <p:spPr/>
        <p:txBody>
          <a:bodyPr/>
          <a:lstStyle>
            <a:lvl1pPr>
              <a:defRPr>
                <a:solidFill>
                  <a:schemeClr val="bg1"/>
                </a:solidFill>
              </a:defRPr>
            </a:lvl1pPr>
          </a:lstStyle>
          <a:p>
            <a:endParaRPr lang="en-US"/>
          </a:p>
        </p:txBody>
      </p:sp>
      <p:sp>
        <p:nvSpPr>
          <p:cNvPr id="3" name="Foliennummernplatzhalter 2">
            <a:extLst>
              <a:ext uri="{FF2B5EF4-FFF2-40B4-BE49-F238E27FC236}">
                <a16:creationId xmlns:a16="http://schemas.microsoft.com/office/drawing/2014/main" id="{4927A4AD-3F3C-C3F6-A92B-5F47DB26DDEB}"/>
              </a:ext>
            </a:extLst>
          </p:cNvPr>
          <p:cNvSpPr>
            <a:spLocks noGrp="1"/>
          </p:cNvSpPr>
          <p:nvPr>
            <p:ph type="sldNum" sz="quarter" idx="14"/>
          </p:nvPr>
        </p:nvSpPr>
        <p:spPr/>
        <p:txBody>
          <a:bodyPr/>
          <a:lstStyle>
            <a:lvl1pPr>
              <a:defRPr>
                <a:solidFill>
                  <a:schemeClr val="bg1"/>
                </a:solidFill>
              </a:defRPr>
            </a:lvl1pPr>
          </a:lstStyle>
          <a:p>
            <a:fld id="{C7D046C8-03B9-4997-9490-81EAE2ED7C49}" type="slidenum">
              <a:rPr lang="en-US" smtClean="0"/>
              <a:t>‹Nr.›</a:t>
            </a:fld>
            <a:endParaRPr lang="en-US"/>
          </a:p>
        </p:txBody>
      </p:sp>
      <p:grpSp>
        <p:nvGrpSpPr>
          <p:cNvPr id="40" name="Gruppieren 39">
            <a:extLst>
              <a:ext uri="{FF2B5EF4-FFF2-40B4-BE49-F238E27FC236}">
                <a16:creationId xmlns:a16="http://schemas.microsoft.com/office/drawing/2014/main" id="{972EC8B1-6F15-51F0-E428-6FA5E2620AD0}"/>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41" name="Gerader Verbinder 40">
              <a:extLst>
                <a:ext uri="{FF2B5EF4-FFF2-40B4-BE49-F238E27FC236}">
                  <a16:creationId xmlns:a16="http://schemas.microsoft.com/office/drawing/2014/main" id="{BF567219-870D-73A9-2074-57D7AC9AC10C}"/>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F09652A2-DD7E-4F53-6538-3F7FB33CD483}"/>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1" name="Gruppieren 50">
            <a:extLst>
              <a:ext uri="{FF2B5EF4-FFF2-40B4-BE49-F238E27FC236}">
                <a16:creationId xmlns:a16="http://schemas.microsoft.com/office/drawing/2014/main" id="{6B4B7644-61B5-36B2-67FD-E2A353161E7C}"/>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52" name="Gerader Verbinder 51">
              <a:extLst>
                <a:ext uri="{FF2B5EF4-FFF2-40B4-BE49-F238E27FC236}">
                  <a16:creationId xmlns:a16="http://schemas.microsoft.com/office/drawing/2014/main" id="{551B1EE3-E64F-C143-F6EA-3D35D8C489F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9C01DC83-47DD-11CE-C2E9-5BF49282ADE9}"/>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6" name="Grafik 5">
            <a:extLst>
              <a:ext uri="{FF2B5EF4-FFF2-40B4-BE49-F238E27FC236}">
                <a16:creationId xmlns:a16="http://schemas.microsoft.com/office/drawing/2014/main" id="{7A5D8476-4187-5C37-8078-7168A03C1466}"/>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1886311841"/>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Keymessage weiß">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399566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1487551" y="1525591"/>
            <a:ext cx="8425277" cy="246221"/>
          </a:xfrm>
          <a:noFill/>
        </p:spPr>
        <p:txBody>
          <a:bodyPr wrap="square" lIns="0" tIns="0" rIns="0" bIns="0" anchor="ctr">
            <a:noAutofit/>
          </a:bodyPr>
          <a:lstStyle>
            <a:lvl1pPr rtl="0">
              <a:defRPr sz="1600" b="0">
                <a:solidFill>
                  <a:schemeClr val="tx1"/>
                </a:solidFill>
              </a:defRPr>
            </a:lvl1pPr>
          </a:lstStyle>
          <a:p>
            <a:pPr lvl="0"/>
            <a:r>
              <a:rPr lang="de-DE" dirty="0" err="1"/>
              <a:t>Subtitle</a:t>
            </a:r>
            <a:r>
              <a:rPr lang="de-DE" dirty="0"/>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1487552" y="2205196"/>
            <a:ext cx="8425282" cy="1727824"/>
          </a:xfrm>
        </p:spPr>
        <p:txBody>
          <a:bodyPr vert="horz"/>
          <a:lstStyle>
            <a:lvl1pPr rtl="0">
              <a:defRPr sz="3600"/>
            </a:lvl1pPr>
          </a:lstStyle>
          <a:p>
            <a:r>
              <a:rPr lang="de-DE"/>
              <a:t>Mastertitelformat bearbeiten</a:t>
            </a:r>
            <a:endParaRPr lang="de-DE" dirty="0"/>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endParaRPr lang="en-US"/>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C7D046C8-03B9-4997-9490-81EAE2ED7C49}" type="slidenum">
              <a:rPr lang="en-US" smtClean="0"/>
              <a:t>‹Nr.›</a:t>
            </a:fld>
            <a:endParaRPr lang="en-US"/>
          </a:p>
        </p:txBody>
      </p:sp>
      <p:pic>
        <p:nvPicPr>
          <p:cNvPr id="5" name="Grafik 4">
            <a:extLst>
              <a:ext uri="{FF2B5EF4-FFF2-40B4-BE49-F238E27FC236}">
                <a16:creationId xmlns:a16="http://schemas.microsoft.com/office/drawing/2014/main" id="{A4F61372-4ED9-3EC9-9A1A-23EB86758932}"/>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grpSp>
        <p:nvGrpSpPr>
          <p:cNvPr id="11" name="Gruppieren 10">
            <a:extLst>
              <a:ext uri="{FF2B5EF4-FFF2-40B4-BE49-F238E27FC236}">
                <a16:creationId xmlns:a16="http://schemas.microsoft.com/office/drawing/2014/main" id="{5AB6250B-1B13-4A44-B5BA-119DF7713C6E}"/>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13" name="Gerader Verbinder 12">
              <a:extLst>
                <a:ext uri="{FF2B5EF4-FFF2-40B4-BE49-F238E27FC236}">
                  <a16:creationId xmlns:a16="http://schemas.microsoft.com/office/drawing/2014/main" id="{BB4B0D50-99FA-FE97-61A1-0CAE8407E4CB}"/>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08B9671-F1E6-E243-8847-2DEC4618B107}"/>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3" name="Gruppieren 22">
            <a:extLst>
              <a:ext uri="{FF2B5EF4-FFF2-40B4-BE49-F238E27FC236}">
                <a16:creationId xmlns:a16="http://schemas.microsoft.com/office/drawing/2014/main" id="{E106CDD9-2B97-9752-65F3-F46A524B4066}"/>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24" name="Gerader Verbinder 23">
              <a:extLst>
                <a:ext uri="{FF2B5EF4-FFF2-40B4-BE49-F238E27FC236}">
                  <a16:creationId xmlns:a16="http://schemas.microsoft.com/office/drawing/2014/main" id="{19ECEAE7-6ED9-AF3D-79EC-721F080B817E}"/>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F48AA1BB-3ADA-0EAB-ED40-E1363AD7E54A}"/>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3" name="Grafik 2">
            <a:extLst>
              <a:ext uri="{FF2B5EF4-FFF2-40B4-BE49-F238E27FC236}">
                <a16:creationId xmlns:a16="http://schemas.microsoft.com/office/drawing/2014/main" id="{7DC58F1E-22AF-9967-0952-5490BEC87E2B}"/>
              </a:ext>
              <a:ext uri="{C183D7F6-B498-43B3-948B-1728B52AA6E4}">
                <adec:decorative xmlns:adec="http://schemas.microsoft.com/office/drawing/2017/decorative" val="1"/>
              </a:ext>
            </a:extLst>
          </p:cNvPr>
          <p:cNvPicPr>
            <a:picLocks/>
          </p:cNvPicPr>
          <p:nvPr/>
        </p:nvPicPr>
        <p:blipFill rotWithShape="1">
          <a:blip r:embed="rId7">
            <a:extLst>
              <a:ext uri="{28A0092B-C50C-407E-A947-70E740481C1C}">
                <a14:useLocalDpi xmlns:a14="http://schemas.microsoft.com/office/drawing/2010/main" val="0"/>
              </a:ext>
            </a:extLst>
          </a:blip>
          <a:srcRect/>
          <a:stretch/>
        </p:blipFill>
        <p:spPr bwMode="gray">
          <a:xfrm>
            <a:off x="1487552" y="1972976"/>
            <a:ext cx="1202053" cy="57600"/>
          </a:xfrm>
          <a:prstGeom prst="rect">
            <a:avLst/>
          </a:prstGeom>
        </p:spPr>
      </p:pic>
      <p:grpSp>
        <p:nvGrpSpPr>
          <p:cNvPr id="191" name="Gruppieren 190">
            <a:extLst>
              <a:ext uri="{FF2B5EF4-FFF2-40B4-BE49-F238E27FC236}">
                <a16:creationId xmlns:a16="http://schemas.microsoft.com/office/drawing/2014/main" id="{32D0DC10-EFFF-3ADC-EFA9-4B2BAB534A7A}"/>
              </a:ext>
              <a:ext uri="{C183D7F6-B498-43B3-948B-1728B52AA6E4}">
                <adec:decorative xmlns:adec="http://schemas.microsoft.com/office/drawing/2017/decorative" val="1"/>
              </a:ext>
            </a:extLst>
          </p:cNvPr>
          <p:cNvGrpSpPr/>
          <p:nvPr/>
        </p:nvGrpSpPr>
        <p:grpSpPr bwMode="gray">
          <a:xfrm>
            <a:off x="-254000" y="296863"/>
            <a:ext cx="144000" cy="6300787"/>
            <a:chOff x="0" y="296863"/>
            <a:chExt cx="12192000" cy="6300787"/>
          </a:xfrm>
        </p:grpSpPr>
        <p:cxnSp>
          <p:nvCxnSpPr>
            <p:cNvPr id="192" name="Gerader Verbinder 191">
              <a:extLst>
                <a:ext uri="{FF2B5EF4-FFF2-40B4-BE49-F238E27FC236}">
                  <a16:creationId xmlns:a16="http://schemas.microsoft.com/office/drawing/2014/main" id="{05FBF4CD-0528-38C2-FBFF-04ECF5F929F9}"/>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40408BFA-CCF4-DB3F-4F95-BE35697FBFC2}"/>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4" name="Gerader Verbinder 193">
              <a:extLst>
                <a:ext uri="{FF2B5EF4-FFF2-40B4-BE49-F238E27FC236}">
                  <a16:creationId xmlns:a16="http://schemas.microsoft.com/office/drawing/2014/main" id="{B65E39BF-EFF7-10AD-45A8-23EF497384F8}"/>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1CC4D524-0461-747A-2770-4B9590FE34A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474FC839-3017-DFC9-B32A-D59FD55B0AFA}"/>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3AE5C23D-21FA-6144-BF9A-B1E96C50FFAA}"/>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9FF3B812-B74A-9B6E-AFAB-DEE38C414CF3}"/>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9" name="Gruppieren 198">
            <a:extLst>
              <a:ext uri="{FF2B5EF4-FFF2-40B4-BE49-F238E27FC236}">
                <a16:creationId xmlns:a16="http://schemas.microsoft.com/office/drawing/2014/main" id="{C8AF24E2-DAE6-9BE8-86B3-D12747F4D55F}"/>
              </a:ext>
              <a:ext uri="{C183D7F6-B498-43B3-948B-1728B52AA6E4}">
                <adec:decorative xmlns:adec="http://schemas.microsoft.com/office/drawing/2017/decorative" val="1"/>
              </a:ext>
            </a:extLst>
          </p:cNvPr>
          <p:cNvGrpSpPr/>
          <p:nvPr/>
        </p:nvGrpSpPr>
        <p:grpSpPr bwMode="gray">
          <a:xfrm>
            <a:off x="12301940" y="296863"/>
            <a:ext cx="144000" cy="6300787"/>
            <a:chOff x="0" y="296863"/>
            <a:chExt cx="12192000" cy="6300787"/>
          </a:xfrm>
        </p:grpSpPr>
        <p:cxnSp>
          <p:nvCxnSpPr>
            <p:cNvPr id="200" name="Gerader Verbinder 199">
              <a:extLst>
                <a:ext uri="{FF2B5EF4-FFF2-40B4-BE49-F238E27FC236}">
                  <a16:creationId xmlns:a16="http://schemas.microsoft.com/office/drawing/2014/main" id="{1A9C1CCE-0333-8648-6C84-90812B4AD898}"/>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DF9F53EF-A455-FBA8-EDE1-AADCF1077F4E}"/>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974AC9BA-60C3-A7FC-97EF-58FD817CF516}"/>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3801C69D-2429-82B4-35BA-3554900A9C51}"/>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404AC6CD-3611-9EC3-34AF-9FFA8827D4BA}"/>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F896204E-D3C8-BDC5-5EF9-31819A72B1D1}"/>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A55EBB46-709E-2AB6-C615-EAFE29AC6CDE}"/>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58380942"/>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8 Kontakte">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2742199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8" name="Grafik 107" descr="Bild mit grüner Wellenstruktur füllt 1/3 der Folie aus, darauf die Anschrift der msg systems ag und die Logos von X, Linkedin, Facebook, Instagram und Whatsapp. Links der Titel und bis zu 8 Kontaktpersonen mit Bild.">
            <a:extLst>
              <a:ext uri="{FF2B5EF4-FFF2-40B4-BE49-F238E27FC236}">
                <a16:creationId xmlns:a16="http://schemas.microsoft.com/office/drawing/2014/main" id="{AE4C995B-DFDC-78DF-ACE7-74EE29C3B8FF}"/>
              </a:ext>
              <a:ext uri="{C183D7F6-B498-43B3-948B-1728B52AA6E4}">
                <adec:decorative xmlns:adec="http://schemas.microsoft.com/office/drawing/2017/decorative" val="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bwMode="gray">
          <a:xfrm flipH="1" flipV="1">
            <a:off x="8400680" y="2772"/>
            <a:ext cx="3791319" cy="6855228"/>
          </a:xfrm>
          <a:prstGeom prst="rect">
            <a:avLst/>
          </a:prstGeom>
        </p:spPr>
      </p:pic>
      <p:sp>
        <p:nvSpPr>
          <p:cNvPr id="2" name="Titel 1">
            <a:extLst>
              <a:ext uri="{FF2B5EF4-FFF2-40B4-BE49-F238E27FC236}">
                <a16:creationId xmlns:a16="http://schemas.microsoft.com/office/drawing/2014/main" id="{3FB3FC25-F432-5096-1B3C-2356EF2C50CD}"/>
              </a:ext>
            </a:extLst>
          </p:cNvPr>
          <p:cNvSpPr>
            <a:spLocks noGrp="1"/>
          </p:cNvSpPr>
          <p:nvPr>
            <p:ph type="title"/>
          </p:nvPr>
        </p:nvSpPr>
        <p:spPr bwMode="gray">
          <a:xfrm>
            <a:off x="623889" y="620713"/>
            <a:ext cx="6910386" cy="738664"/>
          </a:xfrm>
        </p:spPr>
        <p:txBody>
          <a:bodyPr vert="horz"/>
          <a:lstStyle/>
          <a:p>
            <a:r>
              <a:rPr lang="de-DE"/>
              <a:t>Mastertitelformat bearbeiten</a:t>
            </a:r>
            <a:endParaRPr lang="de-DE" dirty="0"/>
          </a:p>
        </p:txBody>
      </p:sp>
      <p:sp>
        <p:nvSpPr>
          <p:cNvPr id="16" name="Bildplatzhalter 15">
            <a:extLst>
              <a:ext uri="{FF2B5EF4-FFF2-40B4-BE49-F238E27FC236}">
                <a16:creationId xmlns:a16="http://schemas.microsoft.com/office/drawing/2014/main" id="{971D89B3-93B1-57A2-2934-C51B985EA126}"/>
              </a:ext>
              <a:ext uri="{C183D7F6-B498-43B3-948B-1728B52AA6E4}">
                <adec:decorative xmlns:adec="http://schemas.microsoft.com/office/drawing/2017/decorative" val="0"/>
              </a:ext>
            </a:extLst>
          </p:cNvPr>
          <p:cNvSpPr>
            <a:spLocks noGrp="1"/>
          </p:cNvSpPr>
          <p:nvPr>
            <p:ph type="pic" sz="quarter" idx="12" hasCustomPrompt="1"/>
          </p:nvPr>
        </p:nvSpPr>
        <p:spPr bwMode="gray">
          <a:xfrm>
            <a:off x="623888" y="2203994"/>
            <a:ext cx="648000" cy="648000"/>
          </a:xfrm>
          <a:prstGeom prst="ellipse">
            <a:avLst/>
          </a:prstGeom>
          <a:solidFill>
            <a:schemeClr val="bg2"/>
          </a:solidFill>
        </p:spPr>
        <p:txBody>
          <a:bodyPr>
            <a:noAutofit/>
          </a:bodyPr>
          <a:lstStyle>
            <a:lvl1pPr rtl="0">
              <a:defRPr sz="1000">
                <a:solidFill>
                  <a:schemeClr val="tx1"/>
                </a:solidFill>
              </a:defRPr>
            </a:lvl1pPr>
          </a:lstStyle>
          <a:p>
            <a:r>
              <a:rPr lang="de-DE" dirty="0"/>
              <a:t>Bild hinzufügen</a:t>
            </a:r>
          </a:p>
        </p:txBody>
      </p:sp>
      <p:sp>
        <p:nvSpPr>
          <p:cNvPr id="40" name="Textplatzhalter 39">
            <a:extLst>
              <a:ext uri="{FF2B5EF4-FFF2-40B4-BE49-F238E27FC236}">
                <a16:creationId xmlns:a16="http://schemas.microsoft.com/office/drawing/2014/main" id="{AFA1D9AC-7FF6-6CF2-35C7-822784B6FBCD}"/>
              </a:ext>
            </a:extLst>
          </p:cNvPr>
          <p:cNvSpPr>
            <a:spLocks noGrp="1"/>
          </p:cNvSpPr>
          <p:nvPr>
            <p:ph type="body" sz="quarter" idx="20"/>
          </p:nvPr>
        </p:nvSpPr>
        <p:spPr bwMode="gray">
          <a:xfrm>
            <a:off x="1485234" y="2204063"/>
            <a:ext cx="2376310" cy="647931"/>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18" name="Bildplatzhalter 17">
            <a:extLst>
              <a:ext uri="{FF2B5EF4-FFF2-40B4-BE49-F238E27FC236}">
                <a16:creationId xmlns:a16="http://schemas.microsoft.com/office/drawing/2014/main" id="{B8743BA9-5CC3-01F3-D460-A28E65028C1E}"/>
              </a:ext>
              <a:ext uri="{C183D7F6-B498-43B3-948B-1728B52AA6E4}">
                <adec:decorative xmlns:adec="http://schemas.microsoft.com/office/drawing/2017/decorative" val="0"/>
              </a:ext>
            </a:extLst>
          </p:cNvPr>
          <p:cNvSpPr>
            <a:spLocks noGrp="1"/>
          </p:cNvSpPr>
          <p:nvPr>
            <p:ph type="pic" sz="quarter" idx="13" hasCustomPrompt="1"/>
          </p:nvPr>
        </p:nvSpPr>
        <p:spPr bwMode="gray">
          <a:xfrm>
            <a:off x="623887" y="3067980"/>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42" name="Textplatzhalter 41">
            <a:extLst>
              <a:ext uri="{FF2B5EF4-FFF2-40B4-BE49-F238E27FC236}">
                <a16:creationId xmlns:a16="http://schemas.microsoft.com/office/drawing/2014/main" id="{7DD5731B-8B22-6B97-9772-427E558C5370}"/>
              </a:ext>
            </a:extLst>
          </p:cNvPr>
          <p:cNvSpPr>
            <a:spLocks noGrp="1"/>
          </p:cNvSpPr>
          <p:nvPr>
            <p:ph type="body" sz="quarter" idx="21"/>
          </p:nvPr>
        </p:nvSpPr>
        <p:spPr bwMode="gray">
          <a:xfrm>
            <a:off x="1485234" y="3067980"/>
            <a:ext cx="2376310" cy="647930"/>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0" name="Bildplatzhalter 19">
            <a:extLst>
              <a:ext uri="{FF2B5EF4-FFF2-40B4-BE49-F238E27FC236}">
                <a16:creationId xmlns:a16="http://schemas.microsoft.com/office/drawing/2014/main" id="{41E7DC1D-D4D8-70D3-57D0-038CEA0BFD1E}"/>
              </a:ext>
              <a:ext uri="{C183D7F6-B498-43B3-948B-1728B52AA6E4}">
                <adec:decorative xmlns:adec="http://schemas.microsoft.com/office/drawing/2017/decorative" val="0"/>
              </a:ext>
            </a:extLst>
          </p:cNvPr>
          <p:cNvSpPr>
            <a:spLocks noGrp="1"/>
          </p:cNvSpPr>
          <p:nvPr>
            <p:ph type="pic" sz="quarter" idx="14" hasCustomPrompt="1"/>
          </p:nvPr>
        </p:nvSpPr>
        <p:spPr bwMode="gray">
          <a:xfrm>
            <a:off x="623888" y="3931736"/>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44" name="Textplatzhalter 43">
            <a:extLst>
              <a:ext uri="{FF2B5EF4-FFF2-40B4-BE49-F238E27FC236}">
                <a16:creationId xmlns:a16="http://schemas.microsoft.com/office/drawing/2014/main" id="{9F56ED74-2FA8-BCC2-B137-E35B01E4CD6A}"/>
              </a:ext>
            </a:extLst>
          </p:cNvPr>
          <p:cNvSpPr>
            <a:spLocks noGrp="1"/>
          </p:cNvSpPr>
          <p:nvPr>
            <p:ph type="body" sz="quarter" idx="22"/>
          </p:nvPr>
        </p:nvSpPr>
        <p:spPr bwMode="gray">
          <a:xfrm>
            <a:off x="1485234" y="3931821"/>
            <a:ext cx="2376310" cy="647915"/>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2" name="Bildplatzhalter 21">
            <a:extLst>
              <a:ext uri="{FF2B5EF4-FFF2-40B4-BE49-F238E27FC236}">
                <a16:creationId xmlns:a16="http://schemas.microsoft.com/office/drawing/2014/main" id="{C37E5E02-DA17-49AB-C218-66F45292B9EE}"/>
              </a:ext>
              <a:ext uri="{C183D7F6-B498-43B3-948B-1728B52AA6E4}">
                <adec:decorative xmlns:adec="http://schemas.microsoft.com/office/drawing/2017/decorative" val="0"/>
              </a:ext>
            </a:extLst>
          </p:cNvPr>
          <p:cNvSpPr>
            <a:spLocks noGrp="1"/>
          </p:cNvSpPr>
          <p:nvPr>
            <p:ph type="pic" sz="quarter" idx="15" hasCustomPrompt="1"/>
          </p:nvPr>
        </p:nvSpPr>
        <p:spPr bwMode="gray">
          <a:xfrm>
            <a:off x="623887" y="4796315"/>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46" name="Textplatzhalter 45">
            <a:extLst>
              <a:ext uri="{FF2B5EF4-FFF2-40B4-BE49-F238E27FC236}">
                <a16:creationId xmlns:a16="http://schemas.microsoft.com/office/drawing/2014/main" id="{3B5F6881-B4A7-C6CF-7F85-125FFCEA1F14}"/>
              </a:ext>
            </a:extLst>
          </p:cNvPr>
          <p:cNvSpPr>
            <a:spLocks noGrp="1"/>
          </p:cNvSpPr>
          <p:nvPr>
            <p:ph type="body" sz="quarter" idx="23"/>
          </p:nvPr>
        </p:nvSpPr>
        <p:spPr bwMode="gray">
          <a:xfrm>
            <a:off x="1485234" y="4796393"/>
            <a:ext cx="2376310" cy="647922"/>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4" name="Bildplatzhalter 23">
            <a:extLst>
              <a:ext uri="{FF2B5EF4-FFF2-40B4-BE49-F238E27FC236}">
                <a16:creationId xmlns:a16="http://schemas.microsoft.com/office/drawing/2014/main" id="{85424A3E-3384-D84B-08BC-CD36882B0B85}"/>
              </a:ext>
              <a:ext uri="{C183D7F6-B498-43B3-948B-1728B52AA6E4}">
                <adec:decorative xmlns:adec="http://schemas.microsoft.com/office/drawing/2017/decorative" val="0"/>
              </a:ext>
            </a:extLst>
          </p:cNvPr>
          <p:cNvSpPr>
            <a:spLocks noGrp="1"/>
          </p:cNvSpPr>
          <p:nvPr>
            <p:ph type="pic" sz="quarter" idx="16" hasCustomPrompt="1"/>
          </p:nvPr>
        </p:nvSpPr>
        <p:spPr bwMode="gray">
          <a:xfrm>
            <a:off x="4295838" y="2203994"/>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48" name="Textplatzhalter 47">
            <a:extLst>
              <a:ext uri="{FF2B5EF4-FFF2-40B4-BE49-F238E27FC236}">
                <a16:creationId xmlns:a16="http://schemas.microsoft.com/office/drawing/2014/main" id="{FB66BA4C-7DC0-AC8B-2142-7292266FAAD3}"/>
              </a:ext>
            </a:extLst>
          </p:cNvPr>
          <p:cNvSpPr>
            <a:spLocks noGrp="1"/>
          </p:cNvSpPr>
          <p:nvPr>
            <p:ph type="body" sz="quarter" idx="24"/>
          </p:nvPr>
        </p:nvSpPr>
        <p:spPr bwMode="gray">
          <a:xfrm>
            <a:off x="5163026" y="2204063"/>
            <a:ext cx="2371249" cy="647931"/>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b="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6" name="Bildplatzhalter 25">
            <a:extLst>
              <a:ext uri="{FF2B5EF4-FFF2-40B4-BE49-F238E27FC236}">
                <a16:creationId xmlns:a16="http://schemas.microsoft.com/office/drawing/2014/main" id="{B694C1FC-EE32-3B77-9E33-C4ED7A2D6593}"/>
              </a:ext>
              <a:ext uri="{C183D7F6-B498-43B3-948B-1728B52AA6E4}">
                <adec:decorative xmlns:adec="http://schemas.microsoft.com/office/drawing/2017/decorative" val="0"/>
              </a:ext>
            </a:extLst>
          </p:cNvPr>
          <p:cNvSpPr>
            <a:spLocks noGrp="1"/>
          </p:cNvSpPr>
          <p:nvPr>
            <p:ph type="pic" sz="quarter" idx="17" hasCustomPrompt="1"/>
          </p:nvPr>
        </p:nvSpPr>
        <p:spPr bwMode="gray">
          <a:xfrm>
            <a:off x="4295838" y="3067980"/>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50" name="Textplatzhalter 49">
            <a:extLst>
              <a:ext uri="{FF2B5EF4-FFF2-40B4-BE49-F238E27FC236}">
                <a16:creationId xmlns:a16="http://schemas.microsoft.com/office/drawing/2014/main" id="{5B367049-C360-CF5F-A663-C8CA4DAAAF7C}"/>
              </a:ext>
            </a:extLst>
          </p:cNvPr>
          <p:cNvSpPr>
            <a:spLocks noGrp="1"/>
          </p:cNvSpPr>
          <p:nvPr>
            <p:ph type="body" sz="quarter" idx="25"/>
          </p:nvPr>
        </p:nvSpPr>
        <p:spPr bwMode="gray">
          <a:xfrm>
            <a:off x="5163026" y="3067980"/>
            <a:ext cx="2371249" cy="647930"/>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b="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8" name="Bildplatzhalter 27">
            <a:extLst>
              <a:ext uri="{FF2B5EF4-FFF2-40B4-BE49-F238E27FC236}">
                <a16:creationId xmlns:a16="http://schemas.microsoft.com/office/drawing/2014/main" id="{E4C3A348-4B8D-20F5-F1D5-D1C99235C7B5}"/>
              </a:ext>
              <a:ext uri="{C183D7F6-B498-43B3-948B-1728B52AA6E4}">
                <adec:decorative xmlns:adec="http://schemas.microsoft.com/office/drawing/2017/decorative" val="0"/>
              </a:ext>
            </a:extLst>
          </p:cNvPr>
          <p:cNvSpPr>
            <a:spLocks noGrp="1"/>
          </p:cNvSpPr>
          <p:nvPr>
            <p:ph type="pic" sz="quarter" idx="18" hasCustomPrompt="1"/>
          </p:nvPr>
        </p:nvSpPr>
        <p:spPr bwMode="gray">
          <a:xfrm>
            <a:off x="4295838" y="3931736"/>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52" name="Textplatzhalter 51">
            <a:extLst>
              <a:ext uri="{FF2B5EF4-FFF2-40B4-BE49-F238E27FC236}">
                <a16:creationId xmlns:a16="http://schemas.microsoft.com/office/drawing/2014/main" id="{84B8B000-804A-CCD9-B993-C2AF922F74FD}"/>
              </a:ext>
            </a:extLst>
          </p:cNvPr>
          <p:cNvSpPr>
            <a:spLocks noGrp="1"/>
          </p:cNvSpPr>
          <p:nvPr>
            <p:ph type="body" sz="quarter" idx="26"/>
          </p:nvPr>
        </p:nvSpPr>
        <p:spPr bwMode="gray">
          <a:xfrm>
            <a:off x="5163026" y="3931821"/>
            <a:ext cx="2371249" cy="647915"/>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b="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30" name="Bildplatzhalter 29">
            <a:extLst>
              <a:ext uri="{FF2B5EF4-FFF2-40B4-BE49-F238E27FC236}">
                <a16:creationId xmlns:a16="http://schemas.microsoft.com/office/drawing/2014/main" id="{6025AF6B-626B-4CA2-042A-DA2046F619FD}"/>
              </a:ext>
              <a:ext uri="{C183D7F6-B498-43B3-948B-1728B52AA6E4}">
                <adec:decorative xmlns:adec="http://schemas.microsoft.com/office/drawing/2017/decorative" val="0"/>
              </a:ext>
            </a:extLst>
          </p:cNvPr>
          <p:cNvSpPr>
            <a:spLocks noGrp="1"/>
          </p:cNvSpPr>
          <p:nvPr>
            <p:ph type="pic" sz="quarter" idx="19" hasCustomPrompt="1"/>
          </p:nvPr>
        </p:nvSpPr>
        <p:spPr bwMode="gray">
          <a:xfrm>
            <a:off x="4295838" y="4796315"/>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54" name="Textplatzhalter 53">
            <a:extLst>
              <a:ext uri="{FF2B5EF4-FFF2-40B4-BE49-F238E27FC236}">
                <a16:creationId xmlns:a16="http://schemas.microsoft.com/office/drawing/2014/main" id="{341F0D25-3E25-0B0C-6298-66A649CC88F9}"/>
              </a:ext>
            </a:extLst>
          </p:cNvPr>
          <p:cNvSpPr>
            <a:spLocks noGrp="1"/>
          </p:cNvSpPr>
          <p:nvPr>
            <p:ph type="body" sz="quarter" idx="27"/>
          </p:nvPr>
        </p:nvSpPr>
        <p:spPr bwMode="gray">
          <a:xfrm>
            <a:off x="5163026" y="4796393"/>
            <a:ext cx="2371249" cy="647922"/>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b="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pic>
        <p:nvPicPr>
          <p:cNvPr id="109" name="Grafik 108">
            <a:extLst>
              <a:ext uri="{FF2B5EF4-FFF2-40B4-BE49-F238E27FC236}">
                <a16:creationId xmlns:a16="http://schemas.microsoft.com/office/drawing/2014/main" id="{95A77FFF-0C7A-736B-B0F9-483B7AB9DE1E}"/>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grpSp>
        <p:nvGrpSpPr>
          <p:cNvPr id="68" name="Gruppieren 67">
            <a:extLst>
              <a:ext uri="{FF2B5EF4-FFF2-40B4-BE49-F238E27FC236}">
                <a16:creationId xmlns:a16="http://schemas.microsoft.com/office/drawing/2014/main" id="{0D39DC80-40B4-A897-FB43-D17636078471}"/>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69" name="Gerader Verbinder 68">
              <a:extLst>
                <a:ext uri="{FF2B5EF4-FFF2-40B4-BE49-F238E27FC236}">
                  <a16:creationId xmlns:a16="http://schemas.microsoft.com/office/drawing/2014/main" id="{09FCE521-5BC2-D2CE-9900-34EAAF61DF69}"/>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57F8D318-538F-315E-0A08-9D0800DC2498}"/>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7" name="Gruppieren 56">
            <a:extLst>
              <a:ext uri="{FF2B5EF4-FFF2-40B4-BE49-F238E27FC236}">
                <a16:creationId xmlns:a16="http://schemas.microsoft.com/office/drawing/2014/main" id="{13ED8E3C-0E50-16E3-C002-BE85A65CE5D3}"/>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58" name="Gerader Verbinder 57">
              <a:extLst>
                <a:ext uri="{FF2B5EF4-FFF2-40B4-BE49-F238E27FC236}">
                  <a16:creationId xmlns:a16="http://schemas.microsoft.com/office/drawing/2014/main" id="{01F7DC44-65A7-F09D-9459-CADC3A107E4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5A984471-5282-1347-7793-6BE7EAFFCA91}"/>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11" name="Titel 11">
            <a:extLst>
              <a:ext uri="{FF2B5EF4-FFF2-40B4-BE49-F238E27FC236}">
                <a16:creationId xmlns:a16="http://schemas.microsoft.com/office/drawing/2014/main" id="{AA111270-B5D0-9002-B12D-7638901707CC}"/>
              </a:ext>
            </a:extLst>
          </p:cNvPr>
          <p:cNvSpPr txBox="1">
            <a:spLocks/>
          </p:cNvSpPr>
          <p:nvPr/>
        </p:nvSpPr>
        <p:spPr bwMode="gray">
          <a:xfrm>
            <a:off x="8763000" y="4566607"/>
            <a:ext cx="3094038" cy="1526392"/>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r>
              <a:rPr lang="de-DE" sz="1100" b="1" dirty="0" err="1">
                <a:latin typeface="+mj-lt"/>
              </a:rPr>
              <a:t>msg</a:t>
            </a:r>
            <a:r>
              <a:rPr lang="de-DE" sz="1100" b="1" dirty="0">
                <a:latin typeface="+mj-lt"/>
              </a:rPr>
              <a:t> </a:t>
            </a:r>
            <a:r>
              <a:rPr lang="de-DE" sz="1100" b="1" dirty="0" err="1">
                <a:latin typeface="+mj-lt"/>
              </a:rPr>
              <a:t>systems</a:t>
            </a:r>
            <a:r>
              <a:rPr lang="de-DE" sz="1100" b="1" dirty="0">
                <a:latin typeface="+mj-lt"/>
              </a:rPr>
              <a:t> AG </a:t>
            </a:r>
            <a:br>
              <a:rPr lang="de-DE" sz="1100" dirty="0"/>
            </a:br>
            <a:r>
              <a:rPr lang="de-DE" sz="1100" dirty="0"/>
              <a:t>Robert-Bürkle-Straße 1</a:t>
            </a:r>
            <a:br>
              <a:rPr lang="de-DE" sz="1100" dirty="0"/>
            </a:br>
            <a:r>
              <a:rPr lang="de-DE" sz="1100" dirty="0"/>
              <a:t>85737 Ismaning</a:t>
            </a:r>
          </a:p>
          <a:p>
            <a:pPr>
              <a:spcAft>
                <a:spcPts val="600"/>
              </a:spcAft>
            </a:pPr>
            <a:r>
              <a:rPr lang="de-DE" sz="1100" dirty="0"/>
              <a:t>+49 89 96101-0</a:t>
            </a:r>
            <a:br>
              <a:rPr lang="de-DE" sz="1100" dirty="0"/>
            </a:br>
            <a:r>
              <a:rPr lang="de-DE" sz="1100" dirty="0"/>
              <a:t>+49 89 96101-​1113</a:t>
            </a:r>
          </a:p>
          <a:p>
            <a:pPr>
              <a:spcAft>
                <a:spcPts val="600"/>
              </a:spcAft>
            </a:pPr>
            <a:r>
              <a:rPr lang="de-DE" sz="1100" dirty="0" err="1"/>
              <a:t>info@msg.group</a:t>
            </a:r>
            <a:endParaRPr lang="de-DE" sz="1100" dirty="0"/>
          </a:p>
        </p:txBody>
      </p:sp>
      <p:sp>
        <p:nvSpPr>
          <p:cNvPr id="12" name="Freihandform: Form 11" descr="Logo von X.">
            <a:extLst>
              <a:ext uri="{FF2B5EF4-FFF2-40B4-BE49-F238E27FC236}">
                <a16:creationId xmlns:a16="http://schemas.microsoft.com/office/drawing/2014/main" id="{3BB894A3-B6FD-18A7-EC25-BFE01C097D69}"/>
              </a:ext>
            </a:extLst>
          </p:cNvPr>
          <p:cNvSpPr>
            <a:spLocks/>
          </p:cNvSpPr>
          <p:nvPr/>
        </p:nvSpPr>
        <p:spPr bwMode="gray">
          <a:xfrm>
            <a:off x="10528883" y="5734050"/>
            <a:ext cx="157950" cy="157940"/>
          </a:xfrm>
          <a:custGeom>
            <a:avLst/>
            <a:gdLst>
              <a:gd name="connsiteX0" fmla="*/ 45533 w 199043"/>
              <a:gd name="connsiteY0" fmla="*/ 59631 h 199030"/>
              <a:gd name="connsiteX1" fmla="*/ 61493 w 199043"/>
              <a:gd name="connsiteY1" fmla="*/ 87817 h 199030"/>
              <a:gd name="connsiteX2" fmla="*/ 40604 w 199043"/>
              <a:gd name="connsiteY2" fmla="*/ 124708 h 199030"/>
              <a:gd name="connsiteX3" fmla="*/ 68687 w 199043"/>
              <a:gd name="connsiteY3" fmla="*/ 124708 h 199030"/>
              <a:gd name="connsiteX4" fmla="*/ 89465 w 199043"/>
              <a:gd name="connsiteY4" fmla="*/ 88013 h 199030"/>
              <a:gd name="connsiteX5" fmla="*/ 89686 w 199043"/>
              <a:gd name="connsiteY5" fmla="*/ 88013 h 199030"/>
              <a:gd name="connsiteX6" fmla="*/ 89575 w 199043"/>
              <a:gd name="connsiteY6" fmla="*/ 87817 h 199030"/>
              <a:gd name="connsiteX7" fmla="*/ 89686 w 199043"/>
              <a:gd name="connsiteY7" fmla="*/ 87621 h 199030"/>
              <a:gd name="connsiteX8" fmla="*/ 89464 w 199043"/>
              <a:gd name="connsiteY8" fmla="*/ 87621 h 199030"/>
              <a:gd name="connsiteX9" fmla="*/ 73615 w 199043"/>
              <a:gd name="connsiteY9" fmla="*/ 59631 h 199030"/>
              <a:gd name="connsiteX10" fmla="*/ 130360 w 199043"/>
              <a:gd name="connsiteY10" fmla="*/ 37561 h 199030"/>
              <a:gd name="connsiteX11" fmla="*/ 87645 w 199043"/>
              <a:gd name="connsiteY11" fmla="*/ 112998 h 199030"/>
              <a:gd name="connsiteX12" fmla="*/ 87423 w 199043"/>
              <a:gd name="connsiteY12" fmla="*/ 112998 h 199030"/>
              <a:gd name="connsiteX13" fmla="*/ 87534 w 199043"/>
              <a:gd name="connsiteY13" fmla="*/ 113194 h 199030"/>
              <a:gd name="connsiteX14" fmla="*/ 87423 w 199043"/>
              <a:gd name="connsiteY14" fmla="*/ 113390 h 199030"/>
              <a:gd name="connsiteX15" fmla="*/ 87645 w 199043"/>
              <a:gd name="connsiteY15" fmla="*/ 113390 h 199030"/>
              <a:gd name="connsiteX16" fmla="*/ 114869 w 199043"/>
              <a:gd name="connsiteY16" fmla="*/ 161469 h 199030"/>
              <a:gd name="connsiteX17" fmla="*/ 142951 w 199043"/>
              <a:gd name="connsiteY17" fmla="*/ 161469 h 199030"/>
              <a:gd name="connsiteX18" fmla="*/ 115616 w 199043"/>
              <a:gd name="connsiteY18" fmla="*/ 113194 h 199030"/>
              <a:gd name="connsiteX19" fmla="*/ 158442 w 199043"/>
              <a:gd name="connsiteY19" fmla="*/ 37561 h 199030"/>
              <a:gd name="connsiteX20" fmla="*/ 46256 w 199043"/>
              <a:gd name="connsiteY20" fmla="*/ 0 h 199030"/>
              <a:gd name="connsiteX21" fmla="*/ 152788 w 199043"/>
              <a:gd name="connsiteY21" fmla="*/ 0 h 199030"/>
              <a:gd name="connsiteX22" fmla="*/ 199043 w 199043"/>
              <a:gd name="connsiteY22" fmla="*/ 46252 h 199030"/>
              <a:gd name="connsiteX23" fmla="*/ 199043 w 199043"/>
              <a:gd name="connsiteY23" fmla="*/ 152778 h 199030"/>
              <a:gd name="connsiteX24" fmla="*/ 152788 w 199043"/>
              <a:gd name="connsiteY24" fmla="*/ 199030 h 199030"/>
              <a:gd name="connsiteX25" fmla="*/ 46256 w 199043"/>
              <a:gd name="connsiteY25" fmla="*/ 199030 h 199030"/>
              <a:gd name="connsiteX26" fmla="*/ 0 w 199043"/>
              <a:gd name="connsiteY26" fmla="*/ 152778 h 199030"/>
              <a:gd name="connsiteX27" fmla="*/ 0 w 199043"/>
              <a:gd name="connsiteY27" fmla="*/ 46252 h 199030"/>
              <a:gd name="connsiteX28" fmla="*/ 46256 w 199043"/>
              <a:gd name="connsiteY28" fmla="*/ 0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9043" h="199030">
                <a:moveTo>
                  <a:pt x="45533" y="59631"/>
                </a:moveTo>
                <a:lnTo>
                  <a:pt x="61493" y="87817"/>
                </a:lnTo>
                <a:lnTo>
                  <a:pt x="40604" y="124708"/>
                </a:lnTo>
                <a:lnTo>
                  <a:pt x="68687" y="124708"/>
                </a:lnTo>
                <a:lnTo>
                  <a:pt x="89465" y="88013"/>
                </a:lnTo>
                <a:lnTo>
                  <a:pt x="89686" y="88013"/>
                </a:lnTo>
                <a:lnTo>
                  <a:pt x="89575" y="87817"/>
                </a:lnTo>
                <a:lnTo>
                  <a:pt x="89686" y="87621"/>
                </a:lnTo>
                <a:lnTo>
                  <a:pt x="89464" y="87621"/>
                </a:lnTo>
                <a:lnTo>
                  <a:pt x="73615" y="59631"/>
                </a:lnTo>
                <a:close/>
                <a:moveTo>
                  <a:pt x="130360" y="37561"/>
                </a:moveTo>
                <a:lnTo>
                  <a:pt x="87645" y="112998"/>
                </a:lnTo>
                <a:lnTo>
                  <a:pt x="87423" y="112998"/>
                </a:lnTo>
                <a:lnTo>
                  <a:pt x="87534" y="113194"/>
                </a:lnTo>
                <a:lnTo>
                  <a:pt x="87423" y="113390"/>
                </a:lnTo>
                <a:lnTo>
                  <a:pt x="87645" y="113390"/>
                </a:lnTo>
                <a:lnTo>
                  <a:pt x="114869" y="161469"/>
                </a:lnTo>
                <a:lnTo>
                  <a:pt x="142951" y="161469"/>
                </a:lnTo>
                <a:lnTo>
                  <a:pt x="115616" y="113194"/>
                </a:lnTo>
                <a:lnTo>
                  <a:pt x="158442" y="37561"/>
                </a:lnTo>
                <a:close/>
                <a:moveTo>
                  <a:pt x="46256" y="0"/>
                </a:moveTo>
                <a:lnTo>
                  <a:pt x="152788" y="0"/>
                </a:lnTo>
                <a:cubicBezTo>
                  <a:pt x="178334" y="0"/>
                  <a:pt x="199043" y="20708"/>
                  <a:pt x="199043" y="46252"/>
                </a:cubicBezTo>
                <a:lnTo>
                  <a:pt x="199043" y="152778"/>
                </a:lnTo>
                <a:cubicBezTo>
                  <a:pt x="199043" y="178323"/>
                  <a:pt x="178334" y="199030"/>
                  <a:pt x="152788" y="199030"/>
                </a:cubicBezTo>
                <a:lnTo>
                  <a:pt x="46256" y="199030"/>
                </a:lnTo>
                <a:cubicBezTo>
                  <a:pt x="20709" y="199030"/>
                  <a:pt x="0" y="178323"/>
                  <a:pt x="0" y="152778"/>
                </a:cubicBezTo>
                <a:lnTo>
                  <a:pt x="0" y="46252"/>
                </a:lnTo>
                <a:cubicBezTo>
                  <a:pt x="0" y="20708"/>
                  <a:pt x="20709" y="0"/>
                  <a:pt x="46256" y="0"/>
                </a:cubicBezTo>
                <a:close/>
              </a:path>
            </a:pathLst>
          </a:custGeom>
          <a:solidFill>
            <a:schemeClr val="accent1"/>
          </a:solidFill>
          <a:ln w="122" cap="flat">
            <a:noFill/>
            <a:prstDash val="solid"/>
            <a:miter/>
          </a:ln>
        </p:spPr>
        <p:txBody>
          <a:bodyPr rtlCol="0" anchor="ctr"/>
          <a:lstStyle/>
          <a:p>
            <a:endParaRPr lang="de-DE"/>
          </a:p>
        </p:txBody>
      </p:sp>
      <p:sp>
        <p:nvSpPr>
          <p:cNvPr id="13" name="Freihandform: Form 12" descr="Logo von LinkedIn.">
            <a:extLst>
              <a:ext uri="{FF2B5EF4-FFF2-40B4-BE49-F238E27FC236}">
                <a16:creationId xmlns:a16="http://schemas.microsoft.com/office/drawing/2014/main" id="{39D4E64A-970E-DED5-5D77-66AF2414DD09}"/>
              </a:ext>
            </a:extLst>
          </p:cNvPr>
          <p:cNvSpPr>
            <a:spLocks/>
          </p:cNvSpPr>
          <p:nvPr/>
        </p:nvSpPr>
        <p:spPr bwMode="gray">
          <a:xfrm>
            <a:off x="10772537" y="5734050"/>
            <a:ext cx="157950" cy="157940"/>
          </a:xfrm>
          <a:custGeom>
            <a:avLst/>
            <a:gdLst>
              <a:gd name="connsiteX0" fmla="*/ 216671 w 277293"/>
              <a:gd name="connsiteY0" fmla="*/ 0 h 277276"/>
              <a:gd name="connsiteX1" fmla="*/ 60623 w 277293"/>
              <a:gd name="connsiteY1" fmla="*/ 0 h 277276"/>
              <a:gd name="connsiteX2" fmla="*/ 0 w 277293"/>
              <a:gd name="connsiteY2" fmla="*/ 60619 h 277276"/>
              <a:gd name="connsiteX3" fmla="*/ 0 w 277293"/>
              <a:gd name="connsiteY3" fmla="*/ 216657 h 277276"/>
              <a:gd name="connsiteX4" fmla="*/ 60623 w 277293"/>
              <a:gd name="connsiteY4" fmla="*/ 277276 h 277276"/>
              <a:gd name="connsiteX5" fmla="*/ 216671 w 277293"/>
              <a:gd name="connsiteY5" fmla="*/ 277276 h 277276"/>
              <a:gd name="connsiteX6" fmla="*/ 277294 w 277293"/>
              <a:gd name="connsiteY6" fmla="*/ 216657 h 277276"/>
              <a:gd name="connsiteX7" fmla="*/ 277294 w 277293"/>
              <a:gd name="connsiteY7" fmla="*/ 60619 h 277276"/>
              <a:gd name="connsiteX8" fmla="*/ 216671 w 277293"/>
              <a:gd name="connsiteY8" fmla="*/ 0 h 277276"/>
              <a:gd name="connsiteX9" fmla="*/ 81881 w 277293"/>
              <a:gd name="connsiteY9" fmla="*/ 235422 h 277276"/>
              <a:gd name="connsiteX10" fmla="*/ 40284 w 277293"/>
              <a:gd name="connsiteY10" fmla="*/ 235422 h 277276"/>
              <a:gd name="connsiteX11" fmla="*/ 40284 w 277293"/>
              <a:gd name="connsiteY11" fmla="*/ 103583 h 277276"/>
              <a:gd name="connsiteX12" fmla="*/ 81881 w 277293"/>
              <a:gd name="connsiteY12" fmla="*/ 103583 h 277276"/>
              <a:gd name="connsiteX13" fmla="*/ 81881 w 277293"/>
              <a:gd name="connsiteY13" fmla="*/ 235422 h 277276"/>
              <a:gd name="connsiteX14" fmla="*/ 61400 w 277293"/>
              <a:gd name="connsiteY14" fmla="*/ 84984 h 277276"/>
              <a:gd name="connsiteX15" fmla="*/ 37465 w 277293"/>
              <a:gd name="connsiteY15" fmla="*/ 61051 h 277276"/>
              <a:gd name="connsiteX16" fmla="*/ 61400 w 277293"/>
              <a:gd name="connsiteY16" fmla="*/ 37118 h 277276"/>
              <a:gd name="connsiteX17" fmla="*/ 85335 w 277293"/>
              <a:gd name="connsiteY17" fmla="*/ 61051 h 277276"/>
              <a:gd name="connsiteX18" fmla="*/ 61400 w 277293"/>
              <a:gd name="connsiteY18" fmla="*/ 84984 h 277276"/>
              <a:gd name="connsiteX19" fmla="*/ 236227 w 277293"/>
              <a:gd name="connsiteY19" fmla="*/ 235422 h 277276"/>
              <a:gd name="connsiteX20" fmla="*/ 195154 w 277293"/>
              <a:gd name="connsiteY20" fmla="*/ 235422 h 277276"/>
              <a:gd name="connsiteX21" fmla="*/ 195154 w 277293"/>
              <a:gd name="connsiteY21" fmla="*/ 160607 h 277276"/>
              <a:gd name="connsiteX22" fmla="*/ 173704 w 277293"/>
              <a:gd name="connsiteY22" fmla="*/ 135755 h 277276"/>
              <a:gd name="connsiteX23" fmla="*/ 149375 w 277293"/>
              <a:gd name="connsiteY23" fmla="*/ 166361 h 277276"/>
              <a:gd name="connsiteX24" fmla="*/ 149375 w 277293"/>
              <a:gd name="connsiteY24" fmla="*/ 235416 h 277276"/>
              <a:gd name="connsiteX25" fmla="*/ 107777 w 277293"/>
              <a:gd name="connsiteY25" fmla="*/ 235416 h 277276"/>
              <a:gd name="connsiteX26" fmla="*/ 107777 w 277293"/>
              <a:gd name="connsiteY26" fmla="*/ 103577 h 277276"/>
              <a:gd name="connsiteX27" fmla="*/ 147802 w 277293"/>
              <a:gd name="connsiteY27" fmla="*/ 103577 h 277276"/>
              <a:gd name="connsiteX28" fmla="*/ 147802 w 277293"/>
              <a:gd name="connsiteY28" fmla="*/ 121627 h 277276"/>
              <a:gd name="connsiteX29" fmla="*/ 189134 w 277293"/>
              <a:gd name="connsiteY29" fmla="*/ 99655 h 277276"/>
              <a:gd name="connsiteX30" fmla="*/ 236221 w 277293"/>
              <a:gd name="connsiteY30" fmla="*/ 157203 h 277276"/>
              <a:gd name="connsiteX31" fmla="*/ 236221 w 277293"/>
              <a:gd name="connsiteY31" fmla="*/ 235416 h 277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7293" h="277276">
                <a:moveTo>
                  <a:pt x="216671" y="0"/>
                </a:moveTo>
                <a:lnTo>
                  <a:pt x="60623" y="0"/>
                </a:lnTo>
                <a:cubicBezTo>
                  <a:pt x="27142" y="0"/>
                  <a:pt x="0" y="27140"/>
                  <a:pt x="0" y="60619"/>
                </a:cubicBezTo>
                <a:lnTo>
                  <a:pt x="0" y="216657"/>
                </a:lnTo>
                <a:cubicBezTo>
                  <a:pt x="0" y="250136"/>
                  <a:pt x="27142" y="277276"/>
                  <a:pt x="60623" y="277276"/>
                </a:cubicBezTo>
                <a:lnTo>
                  <a:pt x="216671" y="277276"/>
                </a:lnTo>
                <a:cubicBezTo>
                  <a:pt x="250152" y="277276"/>
                  <a:pt x="277294" y="250136"/>
                  <a:pt x="277294" y="216657"/>
                </a:cubicBezTo>
                <a:lnTo>
                  <a:pt x="277294" y="60619"/>
                </a:lnTo>
                <a:cubicBezTo>
                  <a:pt x="277294" y="27140"/>
                  <a:pt x="250152" y="0"/>
                  <a:pt x="216671" y="0"/>
                </a:cubicBezTo>
                <a:close/>
                <a:moveTo>
                  <a:pt x="81881" y="235422"/>
                </a:moveTo>
                <a:lnTo>
                  <a:pt x="40284" y="235422"/>
                </a:lnTo>
                <a:lnTo>
                  <a:pt x="40284" y="103583"/>
                </a:lnTo>
                <a:lnTo>
                  <a:pt x="81881" y="103583"/>
                </a:lnTo>
                <a:lnTo>
                  <a:pt x="81881" y="235422"/>
                </a:lnTo>
                <a:close/>
                <a:moveTo>
                  <a:pt x="61400" y="84984"/>
                </a:moveTo>
                <a:cubicBezTo>
                  <a:pt x="48178" y="84984"/>
                  <a:pt x="37465" y="74266"/>
                  <a:pt x="37465" y="61051"/>
                </a:cubicBezTo>
                <a:cubicBezTo>
                  <a:pt x="37465" y="47836"/>
                  <a:pt x="48184" y="37118"/>
                  <a:pt x="61400" y="37118"/>
                </a:cubicBezTo>
                <a:cubicBezTo>
                  <a:pt x="74616" y="37118"/>
                  <a:pt x="85335" y="47836"/>
                  <a:pt x="85335" y="61051"/>
                </a:cubicBezTo>
                <a:cubicBezTo>
                  <a:pt x="85335" y="74266"/>
                  <a:pt x="74616" y="84984"/>
                  <a:pt x="61400" y="84984"/>
                </a:cubicBezTo>
                <a:close/>
                <a:moveTo>
                  <a:pt x="236227" y="235422"/>
                </a:moveTo>
                <a:lnTo>
                  <a:pt x="195154" y="235422"/>
                </a:lnTo>
                <a:lnTo>
                  <a:pt x="195154" y="160607"/>
                </a:lnTo>
                <a:cubicBezTo>
                  <a:pt x="195154" y="160607"/>
                  <a:pt x="195154" y="135755"/>
                  <a:pt x="173704" y="135755"/>
                </a:cubicBezTo>
                <a:cubicBezTo>
                  <a:pt x="152255" y="135755"/>
                  <a:pt x="149375" y="156944"/>
                  <a:pt x="149375" y="166361"/>
                </a:cubicBezTo>
                <a:lnTo>
                  <a:pt x="149375" y="235416"/>
                </a:lnTo>
                <a:lnTo>
                  <a:pt x="107777" y="235416"/>
                </a:lnTo>
                <a:lnTo>
                  <a:pt x="107777" y="103577"/>
                </a:lnTo>
                <a:lnTo>
                  <a:pt x="147802" y="103577"/>
                </a:lnTo>
                <a:lnTo>
                  <a:pt x="147802" y="121627"/>
                </a:lnTo>
                <a:cubicBezTo>
                  <a:pt x="147802" y="121627"/>
                  <a:pt x="156960" y="99655"/>
                  <a:pt x="189134" y="99655"/>
                </a:cubicBezTo>
                <a:cubicBezTo>
                  <a:pt x="221308" y="99655"/>
                  <a:pt x="236221" y="120061"/>
                  <a:pt x="236221" y="157203"/>
                </a:cubicBezTo>
                <a:lnTo>
                  <a:pt x="236221" y="235416"/>
                </a:lnTo>
                <a:close/>
              </a:path>
            </a:pathLst>
          </a:custGeom>
          <a:solidFill>
            <a:schemeClr val="accent1"/>
          </a:solidFill>
          <a:ln w="122" cap="flat">
            <a:noFill/>
            <a:prstDash val="solid"/>
            <a:miter/>
          </a:ln>
        </p:spPr>
        <p:txBody>
          <a:bodyPr rtlCol="0" anchor="ctr"/>
          <a:lstStyle/>
          <a:p>
            <a:endParaRPr lang="de-DE"/>
          </a:p>
        </p:txBody>
      </p:sp>
      <p:sp>
        <p:nvSpPr>
          <p:cNvPr id="14" name="Freihandform: Form 13" descr="Logo von Facebook.">
            <a:extLst>
              <a:ext uri="{FF2B5EF4-FFF2-40B4-BE49-F238E27FC236}">
                <a16:creationId xmlns:a16="http://schemas.microsoft.com/office/drawing/2014/main" id="{01AFCAD3-6E78-7034-9BFF-E12CE1B3514A}"/>
              </a:ext>
            </a:extLst>
          </p:cNvPr>
          <p:cNvSpPr>
            <a:spLocks/>
          </p:cNvSpPr>
          <p:nvPr/>
        </p:nvSpPr>
        <p:spPr bwMode="gray">
          <a:xfrm>
            <a:off x="11016191" y="5734050"/>
            <a:ext cx="157950" cy="157940"/>
          </a:xfrm>
          <a:custGeom>
            <a:avLst/>
            <a:gdLst>
              <a:gd name="connsiteX0" fmla="*/ 216073 w 277287"/>
              <a:gd name="connsiteY0" fmla="*/ 0 h 277282"/>
              <a:gd name="connsiteX1" fmla="*/ 61221 w 277287"/>
              <a:gd name="connsiteY1" fmla="*/ 0 h 277282"/>
              <a:gd name="connsiteX2" fmla="*/ 0 w 277287"/>
              <a:gd name="connsiteY2" fmla="*/ 61217 h 277282"/>
              <a:gd name="connsiteX3" fmla="*/ 0 w 277287"/>
              <a:gd name="connsiteY3" fmla="*/ 216059 h 277282"/>
              <a:gd name="connsiteX4" fmla="*/ 61221 w 277287"/>
              <a:gd name="connsiteY4" fmla="*/ 277276 h 277282"/>
              <a:gd name="connsiteX5" fmla="*/ 127858 w 277287"/>
              <a:gd name="connsiteY5" fmla="*/ 277276 h 277282"/>
              <a:gd name="connsiteX6" fmla="*/ 127858 w 277287"/>
              <a:gd name="connsiteY6" fmla="*/ 183961 h 277282"/>
              <a:gd name="connsiteX7" fmla="*/ 90071 w 277287"/>
              <a:gd name="connsiteY7" fmla="*/ 183961 h 277282"/>
              <a:gd name="connsiteX8" fmla="*/ 90071 w 277287"/>
              <a:gd name="connsiteY8" fmla="*/ 141028 h 277282"/>
              <a:gd name="connsiteX9" fmla="*/ 127858 w 277287"/>
              <a:gd name="connsiteY9" fmla="*/ 141028 h 277282"/>
              <a:gd name="connsiteX10" fmla="*/ 127858 w 277287"/>
              <a:gd name="connsiteY10" fmla="*/ 105538 h 277282"/>
              <a:gd name="connsiteX11" fmla="*/ 183387 w 277287"/>
              <a:gd name="connsiteY11" fmla="*/ 50012 h 277282"/>
              <a:gd name="connsiteX12" fmla="*/ 216017 w 277287"/>
              <a:gd name="connsiteY12" fmla="*/ 51159 h 277282"/>
              <a:gd name="connsiteX13" fmla="*/ 216017 w 277287"/>
              <a:gd name="connsiteY13" fmla="*/ 91231 h 277282"/>
              <a:gd name="connsiteX14" fmla="*/ 193994 w 277287"/>
              <a:gd name="connsiteY14" fmla="*/ 90658 h 277282"/>
              <a:gd name="connsiteX15" fmla="*/ 175369 w 277287"/>
              <a:gd name="connsiteY15" fmla="*/ 109281 h 277282"/>
              <a:gd name="connsiteX16" fmla="*/ 175369 w 277287"/>
              <a:gd name="connsiteY16" fmla="*/ 141034 h 277282"/>
              <a:gd name="connsiteX17" fmla="*/ 216017 w 277287"/>
              <a:gd name="connsiteY17" fmla="*/ 141034 h 277282"/>
              <a:gd name="connsiteX18" fmla="*/ 209147 w 277287"/>
              <a:gd name="connsiteY18" fmla="*/ 183967 h 277282"/>
              <a:gd name="connsiteX19" fmla="*/ 175369 w 277287"/>
              <a:gd name="connsiteY19" fmla="*/ 183967 h 277282"/>
              <a:gd name="connsiteX20" fmla="*/ 175369 w 277287"/>
              <a:gd name="connsiteY20" fmla="*/ 277282 h 277282"/>
              <a:gd name="connsiteX21" fmla="*/ 216066 w 277287"/>
              <a:gd name="connsiteY21" fmla="*/ 277282 h 277282"/>
              <a:gd name="connsiteX22" fmla="*/ 277288 w 277287"/>
              <a:gd name="connsiteY22" fmla="*/ 216065 h 277282"/>
              <a:gd name="connsiteX23" fmla="*/ 277288 w 277287"/>
              <a:gd name="connsiteY23" fmla="*/ 61217 h 277282"/>
              <a:gd name="connsiteX24" fmla="*/ 216066 w 277287"/>
              <a:gd name="connsiteY24" fmla="*/ 0 h 277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7287" h="277282">
                <a:moveTo>
                  <a:pt x="216073" y="0"/>
                </a:moveTo>
                <a:lnTo>
                  <a:pt x="61221" y="0"/>
                </a:lnTo>
                <a:cubicBezTo>
                  <a:pt x="27407" y="0"/>
                  <a:pt x="0" y="27405"/>
                  <a:pt x="0" y="61217"/>
                </a:cubicBezTo>
                <a:lnTo>
                  <a:pt x="0" y="216059"/>
                </a:lnTo>
                <a:cubicBezTo>
                  <a:pt x="0" y="249865"/>
                  <a:pt x="27407" y="277276"/>
                  <a:pt x="61221" y="277276"/>
                </a:cubicBezTo>
                <a:lnTo>
                  <a:pt x="127858" y="277276"/>
                </a:lnTo>
                <a:lnTo>
                  <a:pt x="127858" y="183961"/>
                </a:lnTo>
                <a:lnTo>
                  <a:pt x="90071" y="183961"/>
                </a:lnTo>
                <a:lnTo>
                  <a:pt x="90071" y="141028"/>
                </a:lnTo>
                <a:lnTo>
                  <a:pt x="127858" y="141028"/>
                </a:lnTo>
                <a:lnTo>
                  <a:pt x="127858" y="105538"/>
                </a:lnTo>
                <a:cubicBezTo>
                  <a:pt x="127858" y="74871"/>
                  <a:pt x="152717" y="50012"/>
                  <a:pt x="183387" y="50012"/>
                </a:cubicBezTo>
                <a:lnTo>
                  <a:pt x="216017" y="51159"/>
                </a:lnTo>
                <a:lnTo>
                  <a:pt x="216017" y="91231"/>
                </a:lnTo>
                <a:lnTo>
                  <a:pt x="193994" y="90658"/>
                </a:lnTo>
                <a:cubicBezTo>
                  <a:pt x="183707" y="90658"/>
                  <a:pt x="175369" y="98995"/>
                  <a:pt x="175369" y="109281"/>
                </a:cubicBezTo>
                <a:lnTo>
                  <a:pt x="175369" y="141034"/>
                </a:lnTo>
                <a:lnTo>
                  <a:pt x="216017" y="141034"/>
                </a:lnTo>
                <a:lnTo>
                  <a:pt x="209147" y="183967"/>
                </a:lnTo>
                <a:lnTo>
                  <a:pt x="175369" y="183967"/>
                </a:lnTo>
                <a:lnTo>
                  <a:pt x="175369" y="277282"/>
                </a:lnTo>
                <a:lnTo>
                  <a:pt x="216066" y="277282"/>
                </a:lnTo>
                <a:cubicBezTo>
                  <a:pt x="249875" y="277282"/>
                  <a:pt x="277288" y="249877"/>
                  <a:pt x="277288" y="216065"/>
                </a:cubicBezTo>
                <a:lnTo>
                  <a:pt x="277288" y="61217"/>
                </a:lnTo>
                <a:cubicBezTo>
                  <a:pt x="277288" y="27411"/>
                  <a:pt x="249881" y="0"/>
                  <a:pt x="216066" y="0"/>
                </a:cubicBezTo>
                <a:close/>
              </a:path>
            </a:pathLst>
          </a:custGeom>
          <a:solidFill>
            <a:schemeClr val="accent1"/>
          </a:solidFill>
          <a:ln w="122" cap="flat">
            <a:noFill/>
            <a:prstDash val="solid"/>
            <a:miter/>
          </a:ln>
        </p:spPr>
        <p:txBody>
          <a:bodyPr rtlCol="0" anchor="ctr"/>
          <a:lstStyle/>
          <a:p>
            <a:endParaRPr lang="de-DE"/>
          </a:p>
        </p:txBody>
      </p:sp>
      <p:sp>
        <p:nvSpPr>
          <p:cNvPr id="15" name="Freihandform: Form 14" descr="Logo von Instagram.">
            <a:extLst>
              <a:ext uri="{FF2B5EF4-FFF2-40B4-BE49-F238E27FC236}">
                <a16:creationId xmlns:a16="http://schemas.microsoft.com/office/drawing/2014/main" id="{D18DDA4A-2864-5F46-9765-7F4E4DB5B24F}"/>
              </a:ext>
            </a:extLst>
          </p:cNvPr>
          <p:cNvSpPr>
            <a:spLocks/>
          </p:cNvSpPr>
          <p:nvPr/>
        </p:nvSpPr>
        <p:spPr bwMode="gray">
          <a:xfrm>
            <a:off x="11259844" y="5734050"/>
            <a:ext cx="157951" cy="157940"/>
          </a:xfrm>
          <a:custGeom>
            <a:avLst/>
            <a:gdLst>
              <a:gd name="connsiteX0" fmla="*/ 105406 w 199044"/>
              <a:gd name="connsiteY0" fmla="*/ 74501 h 199030"/>
              <a:gd name="connsiteX1" fmla="*/ 124504 w 199044"/>
              <a:gd name="connsiteY1" fmla="*/ 105400 h 199030"/>
              <a:gd name="connsiteX2" fmla="*/ 93605 w 199044"/>
              <a:gd name="connsiteY2" fmla="*/ 124500 h 199030"/>
              <a:gd name="connsiteX3" fmla="*/ 74506 w 199044"/>
              <a:gd name="connsiteY3" fmla="*/ 93600 h 199030"/>
              <a:gd name="connsiteX4" fmla="*/ 105406 w 199044"/>
              <a:gd name="connsiteY4" fmla="*/ 74501 h 199030"/>
              <a:gd name="connsiteX5" fmla="*/ 99519 w 199044"/>
              <a:gd name="connsiteY5" fmla="*/ 61049 h 199030"/>
              <a:gd name="connsiteX6" fmla="*/ 61053 w 199044"/>
              <a:gd name="connsiteY6" fmla="*/ 99512 h 199030"/>
              <a:gd name="connsiteX7" fmla="*/ 99519 w 199044"/>
              <a:gd name="connsiteY7" fmla="*/ 137974 h 199030"/>
              <a:gd name="connsiteX8" fmla="*/ 137985 w 199044"/>
              <a:gd name="connsiteY8" fmla="*/ 99512 h 199030"/>
              <a:gd name="connsiteX9" fmla="*/ 99519 w 199044"/>
              <a:gd name="connsiteY9" fmla="*/ 61049 h 199030"/>
              <a:gd name="connsiteX10" fmla="*/ 138739 w 199044"/>
              <a:gd name="connsiteY10" fmla="*/ 50176 h 199030"/>
              <a:gd name="connsiteX11" fmla="*/ 129774 w 199044"/>
              <a:gd name="connsiteY11" fmla="*/ 59141 h 199030"/>
              <a:gd name="connsiteX12" fmla="*/ 138739 w 199044"/>
              <a:gd name="connsiteY12" fmla="*/ 68105 h 199030"/>
              <a:gd name="connsiteX13" fmla="*/ 147704 w 199044"/>
              <a:gd name="connsiteY13" fmla="*/ 59141 h 199030"/>
              <a:gd name="connsiteX14" fmla="*/ 138739 w 199044"/>
              <a:gd name="connsiteY14" fmla="*/ 50176 h 199030"/>
              <a:gd name="connsiteX15" fmla="*/ 67458 w 199044"/>
              <a:gd name="connsiteY15" fmla="*/ 38818 h 199030"/>
              <a:gd name="connsiteX16" fmla="*/ 131584 w 199044"/>
              <a:gd name="connsiteY16" fmla="*/ 38818 h 199030"/>
              <a:gd name="connsiteX17" fmla="*/ 160222 w 199044"/>
              <a:gd name="connsiteY17" fmla="*/ 67453 h 199030"/>
              <a:gd name="connsiteX18" fmla="*/ 160222 w 199044"/>
              <a:gd name="connsiteY18" fmla="*/ 131574 h 199030"/>
              <a:gd name="connsiteX19" fmla="*/ 131584 w 199044"/>
              <a:gd name="connsiteY19" fmla="*/ 160210 h 199030"/>
              <a:gd name="connsiteX20" fmla="*/ 67458 w 199044"/>
              <a:gd name="connsiteY20" fmla="*/ 160210 h 199030"/>
              <a:gd name="connsiteX21" fmla="*/ 38820 w 199044"/>
              <a:gd name="connsiteY21" fmla="*/ 131574 h 199030"/>
              <a:gd name="connsiteX22" fmla="*/ 38820 w 199044"/>
              <a:gd name="connsiteY22" fmla="*/ 67453 h 199030"/>
              <a:gd name="connsiteX23" fmla="*/ 67458 w 199044"/>
              <a:gd name="connsiteY23" fmla="*/ 38818 h 199030"/>
              <a:gd name="connsiteX24" fmla="*/ 67459 w 199044"/>
              <a:gd name="connsiteY24" fmla="*/ 23530 h 199030"/>
              <a:gd name="connsiteX25" fmla="*/ 23531 w 199044"/>
              <a:gd name="connsiteY25" fmla="*/ 67453 h 199030"/>
              <a:gd name="connsiteX26" fmla="*/ 23531 w 199044"/>
              <a:gd name="connsiteY26" fmla="*/ 131573 h 199030"/>
              <a:gd name="connsiteX27" fmla="*/ 67459 w 199044"/>
              <a:gd name="connsiteY27" fmla="*/ 175497 h 199030"/>
              <a:gd name="connsiteX28" fmla="*/ 131585 w 199044"/>
              <a:gd name="connsiteY28" fmla="*/ 175497 h 199030"/>
              <a:gd name="connsiteX29" fmla="*/ 175512 w 199044"/>
              <a:gd name="connsiteY29" fmla="*/ 131573 h 199030"/>
              <a:gd name="connsiteX30" fmla="*/ 175512 w 199044"/>
              <a:gd name="connsiteY30" fmla="*/ 67453 h 199030"/>
              <a:gd name="connsiteX31" fmla="*/ 131585 w 199044"/>
              <a:gd name="connsiteY31" fmla="*/ 23530 h 199030"/>
              <a:gd name="connsiteX32" fmla="*/ 155098 w 199044"/>
              <a:gd name="connsiteY32" fmla="*/ 0 h 199030"/>
              <a:gd name="connsiteX33" fmla="*/ 199044 w 199044"/>
              <a:gd name="connsiteY33" fmla="*/ 43942 h 199030"/>
              <a:gd name="connsiteX34" fmla="*/ 199044 w 199044"/>
              <a:gd name="connsiteY34" fmla="*/ 155089 h 199030"/>
              <a:gd name="connsiteX35" fmla="*/ 155098 w 199044"/>
              <a:gd name="connsiteY35" fmla="*/ 199030 h 199030"/>
              <a:gd name="connsiteX36" fmla="*/ 43946 w 199044"/>
              <a:gd name="connsiteY36" fmla="*/ 199030 h 199030"/>
              <a:gd name="connsiteX37" fmla="*/ 0 w 199044"/>
              <a:gd name="connsiteY37" fmla="*/ 155089 h 199030"/>
              <a:gd name="connsiteX38" fmla="*/ 0 w 199044"/>
              <a:gd name="connsiteY38" fmla="*/ 43946 h 199030"/>
              <a:gd name="connsiteX39" fmla="*/ 43946 w 199044"/>
              <a:gd name="connsiteY39" fmla="*/ 4 h 199030"/>
              <a:gd name="connsiteX40" fmla="*/ 155098 w 199044"/>
              <a:gd name="connsiteY40" fmla="*/ 4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99044" h="199030">
                <a:moveTo>
                  <a:pt x="105406" y="74501"/>
                </a:moveTo>
                <a:cubicBezTo>
                  <a:pt x="119212" y="77760"/>
                  <a:pt x="127762" y="91594"/>
                  <a:pt x="124504" y="105400"/>
                </a:cubicBezTo>
                <a:cubicBezTo>
                  <a:pt x="121245" y="119207"/>
                  <a:pt x="107412" y="127758"/>
                  <a:pt x="93605" y="124500"/>
                </a:cubicBezTo>
                <a:cubicBezTo>
                  <a:pt x="79798" y="121241"/>
                  <a:pt x="71248" y="107407"/>
                  <a:pt x="74506" y="93600"/>
                </a:cubicBezTo>
                <a:cubicBezTo>
                  <a:pt x="77765" y="79793"/>
                  <a:pt x="91599" y="71242"/>
                  <a:pt x="105406" y="74501"/>
                </a:cubicBezTo>
                <a:close/>
                <a:moveTo>
                  <a:pt x="99519" y="61049"/>
                </a:moveTo>
                <a:cubicBezTo>
                  <a:pt x="78310" y="61049"/>
                  <a:pt x="61053" y="78304"/>
                  <a:pt x="61053" y="99512"/>
                </a:cubicBezTo>
                <a:cubicBezTo>
                  <a:pt x="61053" y="120719"/>
                  <a:pt x="78310" y="137974"/>
                  <a:pt x="99519" y="137974"/>
                </a:cubicBezTo>
                <a:cubicBezTo>
                  <a:pt x="120728" y="137974"/>
                  <a:pt x="137985" y="120719"/>
                  <a:pt x="137985" y="99512"/>
                </a:cubicBezTo>
                <a:cubicBezTo>
                  <a:pt x="137985" y="78304"/>
                  <a:pt x="120728" y="61049"/>
                  <a:pt x="99519" y="61049"/>
                </a:cubicBezTo>
                <a:close/>
                <a:moveTo>
                  <a:pt x="138739" y="50176"/>
                </a:moveTo>
                <a:cubicBezTo>
                  <a:pt x="133789" y="50176"/>
                  <a:pt x="129774" y="54191"/>
                  <a:pt x="129774" y="59141"/>
                </a:cubicBezTo>
                <a:cubicBezTo>
                  <a:pt x="129774" y="64090"/>
                  <a:pt x="133789" y="68105"/>
                  <a:pt x="138739" y="68105"/>
                </a:cubicBezTo>
                <a:cubicBezTo>
                  <a:pt x="143689" y="68105"/>
                  <a:pt x="147704" y="64090"/>
                  <a:pt x="147704" y="59141"/>
                </a:cubicBezTo>
                <a:cubicBezTo>
                  <a:pt x="147704" y="54191"/>
                  <a:pt x="143689" y="50176"/>
                  <a:pt x="138739" y="50176"/>
                </a:cubicBezTo>
                <a:close/>
                <a:moveTo>
                  <a:pt x="67458" y="38818"/>
                </a:moveTo>
                <a:lnTo>
                  <a:pt x="131584" y="38818"/>
                </a:lnTo>
                <a:cubicBezTo>
                  <a:pt x="147376" y="38818"/>
                  <a:pt x="160222" y="51663"/>
                  <a:pt x="160222" y="67453"/>
                </a:cubicBezTo>
                <a:lnTo>
                  <a:pt x="160222" y="131574"/>
                </a:lnTo>
                <a:cubicBezTo>
                  <a:pt x="160222" y="147365"/>
                  <a:pt x="147376" y="160210"/>
                  <a:pt x="131584" y="160210"/>
                </a:cubicBezTo>
                <a:lnTo>
                  <a:pt x="67458" y="160210"/>
                </a:lnTo>
                <a:cubicBezTo>
                  <a:pt x="51666" y="160210"/>
                  <a:pt x="38820" y="147365"/>
                  <a:pt x="38820" y="131574"/>
                </a:cubicBezTo>
                <a:lnTo>
                  <a:pt x="38820" y="67453"/>
                </a:lnTo>
                <a:cubicBezTo>
                  <a:pt x="38820" y="51663"/>
                  <a:pt x="51666" y="38818"/>
                  <a:pt x="67458" y="38818"/>
                </a:cubicBezTo>
                <a:close/>
                <a:moveTo>
                  <a:pt x="67459" y="23530"/>
                </a:moveTo>
                <a:cubicBezTo>
                  <a:pt x="43236" y="23530"/>
                  <a:pt x="23531" y="43232"/>
                  <a:pt x="23531" y="67453"/>
                </a:cubicBezTo>
                <a:lnTo>
                  <a:pt x="23531" y="131573"/>
                </a:lnTo>
                <a:cubicBezTo>
                  <a:pt x="23531" y="155794"/>
                  <a:pt x="43236" y="175497"/>
                  <a:pt x="67459" y="175497"/>
                </a:cubicBezTo>
                <a:lnTo>
                  <a:pt x="131585" y="175497"/>
                </a:lnTo>
                <a:cubicBezTo>
                  <a:pt x="155808" y="175497"/>
                  <a:pt x="175512" y="155794"/>
                  <a:pt x="175512" y="131573"/>
                </a:cubicBezTo>
                <a:lnTo>
                  <a:pt x="175512" y="67453"/>
                </a:lnTo>
                <a:cubicBezTo>
                  <a:pt x="175512" y="43232"/>
                  <a:pt x="155808" y="23530"/>
                  <a:pt x="131585" y="23530"/>
                </a:cubicBezTo>
                <a:close/>
                <a:moveTo>
                  <a:pt x="155098" y="0"/>
                </a:moveTo>
                <a:cubicBezTo>
                  <a:pt x="179371" y="0"/>
                  <a:pt x="199044" y="19676"/>
                  <a:pt x="199044" y="43942"/>
                </a:cubicBezTo>
                <a:lnTo>
                  <a:pt x="199044" y="155089"/>
                </a:lnTo>
                <a:cubicBezTo>
                  <a:pt x="199044" y="179359"/>
                  <a:pt x="179366" y="199030"/>
                  <a:pt x="155098" y="199030"/>
                </a:cubicBezTo>
                <a:lnTo>
                  <a:pt x="43946" y="199030"/>
                </a:lnTo>
                <a:cubicBezTo>
                  <a:pt x="19673" y="199030"/>
                  <a:pt x="0" y="179355"/>
                  <a:pt x="0" y="155089"/>
                </a:cubicBezTo>
                <a:lnTo>
                  <a:pt x="0" y="43946"/>
                </a:lnTo>
                <a:cubicBezTo>
                  <a:pt x="0" y="19676"/>
                  <a:pt x="19677" y="4"/>
                  <a:pt x="43946" y="4"/>
                </a:cubicBezTo>
                <a:lnTo>
                  <a:pt x="155098" y="4"/>
                </a:lnTo>
                <a:close/>
              </a:path>
            </a:pathLst>
          </a:custGeom>
          <a:solidFill>
            <a:schemeClr val="accent1"/>
          </a:solidFill>
          <a:ln w="122" cap="flat">
            <a:noFill/>
            <a:prstDash val="solid"/>
            <a:miter/>
          </a:ln>
        </p:spPr>
        <p:txBody>
          <a:bodyPr rtlCol="0" anchor="ctr"/>
          <a:lstStyle/>
          <a:p>
            <a:endParaRPr lang="de-DE"/>
          </a:p>
        </p:txBody>
      </p:sp>
      <p:sp>
        <p:nvSpPr>
          <p:cNvPr id="17" name="Freihandform: Form 16" descr="Logo von WhatsApp.">
            <a:extLst>
              <a:ext uri="{FF2B5EF4-FFF2-40B4-BE49-F238E27FC236}">
                <a16:creationId xmlns:a16="http://schemas.microsoft.com/office/drawing/2014/main" id="{DA4AF295-723C-6E97-FABD-A35A0E40766A}"/>
              </a:ext>
            </a:extLst>
          </p:cNvPr>
          <p:cNvSpPr>
            <a:spLocks/>
          </p:cNvSpPr>
          <p:nvPr/>
        </p:nvSpPr>
        <p:spPr bwMode="gray">
          <a:xfrm>
            <a:off x="11503499" y="5734050"/>
            <a:ext cx="157950" cy="157940"/>
          </a:xfrm>
          <a:custGeom>
            <a:avLst/>
            <a:gdLst>
              <a:gd name="connsiteX0" fmla="*/ 79882 w 199043"/>
              <a:gd name="connsiteY0" fmla="*/ 64498 h 199030"/>
              <a:gd name="connsiteX1" fmla="*/ 68427 w 199043"/>
              <a:gd name="connsiteY1" fmla="*/ 73992 h 199030"/>
              <a:gd name="connsiteX2" fmla="*/ 86227 w 199043"/>
              <a:gd name="connsiteY2" fmla="*/ 115582 h 199030"/>
              <a:gd name="connsiteX3" fmla="*/ 114283 w 199043"/>
              <a:gd name="connsiteY3" fmla="*/ 130977 h 199030"/>
              <a:gd name="connsiteX4" fmla="*/ 129430 w 199043"/>
              <a:gd name="connsiteY4" fmla="*/ 128982 h 199030"/>
              <a:gd name="connsiteX5" fmla="*/ 129428 w 199043"/>
              <a:gd name="connsiteY5" fmla="*/ 128985 h 199030"/>
              <a:gd name="connsiteX6" fmla="*/ 129437 w 199043"/>
              <a:gd name="connsiteY6" fmla="*/ 128981 h 199030"/>
              <a:gd name="connsiteX7" fmla="*/ 129430 w 199043"/>
              <a:gd name="connsiteY7" fmla="*/ 128982 h 199030"/>
              <a:gd name="connsiteX8" fmla="*/ 137688 w 199043"/>
              <a:gd name="connsiteY8" fmla="*/ 116612 h 199030"/>
              <a:gd name="connsiteX9" fmla="*/ 134156 w 199043"/>
              <a:gd name="connsiteY9" fmla="*/ 112151 h 199030"/>
              <a:gd name="connsiteX10" fmla="*/ 119582 w 199043"/>
              <a:gd name="connsiteY10" fmla="*/ 107069 h 199030"/>
              <a:gd name="connsiteX11" fmla="*/ 115498 w 199043"/>
              <a:gd name="connsiteY11" fmla="*/ 108072 h 199030"/>
              <a:gd name="connsiteX12" fmla="*/ 114091 w 199043"/>
              <a:gd name="connsiteY12" fmla="*/ 109571 h 199030"/>
              <a:gd name="connsiteX13" fmla="*/ 104994 w 199043"/>
              <a:gd name="connsiteY13" fmla="*/ 112050 h 199030"/>
              <a:gd name="connsiteX14" fmla="*/ 94864 w 199043"/>
              <a:gd name="connsiteY14" fmla="*/ 106004 h 199030"/>
              <a:gd name="connsiteX15" fmla="*/ 87800 w 199043"/>
              <a:gd name="connsiteY15" fmla="*/ 96553 h 199030"/>
              <a:gd name="connsiteX16" fmla="*/ 89324 w 199043"/>
              <a:gd name="connsiteY16" fmla="*/ 87246 h 199030"/>
              <a:gd name="connsiteX17" fmla="*/ 90670 w 199043"/>
              <a:gd name="connsiteY17" fmla="*/ 85691 h 199030"/>
              <a:gd name="connsiteX18" fmla="*/ 91249 w 199043"/>
              <a:gd name="connsiteY18" fmla="*/ 81524 h 199030"/>
              <a:gd name="connsiteX19" fmla="*/ 84684 w 199043"/>
              <a:gd name="connsiteY19" fmla="*/ 67551 h 199030"/>
              <a:gd name="connsiteX20" fmla="*/ 79882 w 199043"/>
              <a:gd name="connsiteY20" fmla="*/ 64498 h 199030"/>
              <a:gd name="connsiteX21" fmla="*/ 102006 w 199043"/>
              <a:gd name="connsiteY21" fmla="*/ 38523 h 199030"/>
              <a:gd name="connsiteX22" fmla="*/ 102010 w 199043"/>
              <a:gd name="connsiteY22" fmla="*/ 38523 h 199030"/>
              <a:gd name="connsiteX23" fmla="*/ 160895 w 199043"/>
              <a:gd name="connsiteY23" fmla="*/ 97403 h 199030"/>
              <a:gd name="connsiteX24" fmla="*/ 102010 w 199043"/>
              <a:gd name="connsiteY24" fmla="*/ 156283 h 199030"/>
              <a:gd name="connsiteX25" fmla="*/ 70049 w 199043"/>
              <a:gd name="connsiteY25" fmla="*/ 146862 h 199030"/>
              <a:gd name="connsiteX26" fmla="*/ 47508 w 199043"/>
              <a:gd name="connsiteY26" fmla="*/ 152830 h 199030"/>
              <a:gd name="connsiteX27" fmla="*/ 53814 w 199043"/>
              <a:gd name="connsiteY27" fmla="*/ 131242 h 199030"/>
              <a:gd name="connsiteX28" fmla="*/ 43122 w 199043"/>
              <a:gd name="connsiteY28" fmla="*/ 97403 h 199030"/>
              <a:gd name="connsiteX29" fmla="*/ 102006 w 199043"/>
              <a:gd name="connsiteY29" fmla="*/ 38523 h 199030"/>
              <a:gd name="connsiteX30" fmla="*/ 102006 w 199043"/>
              <a:gd name="connsiteY30" fmla="*/ 26185 h 199030"/>
              <a:gd name="connsiteX31" fmla="*/ 30783 w 199043"/>
              <a:gd name="connsiteY31" fmla="*/ 97403 h 199030"/>
              <a:gd name="connsiteX32" fmla="*/ 40458 w 199043"/>
              <a:gd name="connsiteY32" fmla="*/ 133262 h 199030"/>
              <a:gd name="connsiteX33" fmla="*/ 30783 w 199043"/>
              <a:gd name="connsiteY33" fmla="*/ 169652 h 199030"/>
              <a:gd name="connsiteX34" fmla="*/ 68055 w 199043"/>
              <a:gd name="connsiteY34" fmla="*/ 160025 h 199030"/>
              <a:gd name="connsiteX35" fmla="*/ 102006 w 199043"/>
              <a:gd name="connsiteY35" fmla="*/ 168622 h 199030"/>
              <a:gd name="connsiteX36" fmla="*/ 173229 w 199043"/>
              <a:gd name="connsiteY36" fmla="*/ 97403 h 199030"/>
              <a:gd name="connsiteX37" fmla="*/ 102006 w 199043"/>
              <a:gd name="connsiteY37" fmla="*/ 26185 h 199030"/>
              <a:gd name="connsiteX38" fmla="*/ 46256 w 199043"/>
              <a:gd name="connsiteY38" fmla="*/ 0 h 199030"/>
              <a:gd name="connsiteX39" fmla="*/ 152788 w 199043"/>
              <a:gd name="connsiteY39" fmla="*/ 0 h 199030"/>
              <a:gd name="connsiteX40" fmla="*/ 199043 w 199043"/>
              <a:gd name="connsiteY40" fmla="*/ 46252 h 199030"/>
              <a:gd name="connsiteX41" fmla="*/ 199043 w 199043"/>
              <a:gd name="connsiteY41" fmla="*/ 152778 h 199030"/>
              <a:gd name="connsiteX42" fmla="*/ 152788 w 199043"/>
              <a:gd name="connsiteY42" fmla="*/ 199030 h 199030"/>
              <a:gd name="connsiteX43" fmla="*/ 46256 w 199043"/>
              <a:gd name="connsiteY43" fmla="*/ 199030 h 199030"/>
              <a:gd name="connsiteX44" fmla="*/ 0 w 199043"/>
              <a:gd name="connsiteY44" fmla="*/ 152778 h 199030"/>
              <a:gd name="connsiteX45" fmla="*/ 0 w 199043"/>
              <a:gd name="connsiteY45" fmla="*/ 46252 h 199030"/>
              <a:gd name="connsiteX46" fmla="*/ 46256 w 199043"/>
              <a:gd name="connsiteY46" fmla="*/ 0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9043" h="199030">
                <a:moveTo>
                  <a:pt x="79882" y="64498"/>
                </a:moveTo>
                <a:cubicBezTo>
                  <a:pt x="75215" y="64493"/>
                  <a:pt x="70614" y="68309"/>
                  <a:pt x="68427" y="73992"/>
                </a:cubicBezTo>
                <a:cubicBezTo>
                  <a:pt x="66237" y="79697"/>
                  <a:pt x="63577" y="95168"/>
                  <a:pt x="86227" y="115582"/>
                </a:cubicBezTo>
                <a:cubicBezTo>
                  <a:pt x="97552" y="125789"/>
                  <a:pt x="106993" y="129832"/>
                  <a:pt x="114283" y="130977"/>
                </a:cubicBezTo>
                <a:lnTo>
                  <a:pt x="129430" y="128982"/>
                </a:lnTo>
                <a:lnTo>
                  <a:pt x="129428" y="128985"/>
                </a:lnTo>
                <a:lnTo>
                  <a:pt x="129437" y="128981"/>
                </a:lnTo>
                <a:lnTo>
                  <a:pt x="129430" y="128982"/>
                </a:lnTo>
                <a:lnTo>
                  <a:pt x="137688" y="116612"/>
                </a:lnTo>
                <a:cubicBezTo>
                  <a:pt x="137477" y="114566"/>
                  <a:pt x="136097" y="112830"/>
                  <a:pt x="134156" y="112151"/>
                </a:cubicBezTo>
                <a:lnTo>
                  <a:pt x="119582" y="107069"/>
                </a:lnTo>
                <a:cubicBezTo>
                  <a:pt x="118140" y="106565"/>
                  <a:pt x="116541" y="106959"/>
                  <a:pt x="115498" y="108072"/>
                </a:cubicBezTo>
                <a:lnTo>
                  <a:pt x="114091" y="109571"/>
                </a:lnTo>
                <a:cubicBezTo>
                  <a:pt x="111769" y="112042"/>
                  <a:pt x="108241" y="113032"/>
                  <a:pt x="104994" y="112050"/>
                </a:cubicBezTo>
                <a:cubicBezTo>
                  <a:pt x="102194" y="111205"/>
                  <a:pt x="98715" y="109474"/>
                  <a:pt x="94864" y="106004"/>
                </a:cubicBezTo>
                <a:cubicBezTo>
                  <a:pt x="91012" y="102534"/>
                  <a:pt x="88931" y="99252"/>
                  <a:pt x="87800" y="96553"/>
                </a:cubicBezTo>
                <a:cubicBezTo>
                  <a:pt x="86489" y="93420"/>
                  <a:pt x="87108" y="89814"/>
                  <a:pt x="89324" y="87246"/>
                </a:cubicBezTo>
                <a:lnTo>
                  <a:pt x="90670" y="85691"/>
                </a:lnTo>
                <a:cubicBezTo>
                  <a:pt x="91669" y="84538"/>
                  <a:pt x="91897" y="82904"/>
                  <a:pt x="91249" y="81524"/>
                </a:cubicBezTo>
                <a:lnTo>
                  <a:pt x="84684" y="67551"/>
                </a:lnTo>
                <a:cubicBezTo>
                  <a:pt x="83812" y="65689"/>
                  <a:pt x="81941" y="64498"/>
                  <a:pt x="79882" y="64498"/>
                </a:cubicBezTo>
                <a:close/>
                <a:moveTo>
                  <a:pt x="102006" y="38523"/>
                </a:moveTo>
                <a:lnTo>
                  <a:pt x="102010" y="38523"/>
                </a:lnTo>
                <a:cubicBezTo>
                  <a:pt x="134533" y="38523"/>
                  <a:pt x="160895" y="64883"/>
                  <a:pt x="160895" y="97403"/>
                </a:cubicBezTo>
                <a:cubicBezTo>
                  <a:pt x="160895" y="129923"/>
                  <a:pt x="134533" y="156283"/>
                  <a:pt x="102010" y="156283"/>
                </a:cubicBezTo>
                <a:cubicBezTo>
                  <a:pt x="90228" y="156283"/>
                  <a:pt x="79255" y="152821"/>
                  <a:pt x="70049" y="146862"/>
                </a:cubicBezTo>
                <a:lnTo>
                  <a:pt x="47508" y="152830"/>
                </a:lnTo>
                <a:lnTo>
                  <a:pt x="53814" y="131242"/>
                </a:lnTo>
                <a:cubicBezTo>
                  <a:pt x="47079" y="121669"/>
                  <a:pt x="43122" y="110000"/>
                  <a:pt x="43122" y="97403"/>
                </a:cubicBezTo>
                <a:cubicBezTo>
                  <a:pt x="43122" y="64883"/>
                  <a:pt x="69484" y="38523"/>
                  <a:pt x="102006" y="38523"/>
                </a:cubicBezTo>
                <a:close/>
                <a:moveTo>
                  <a:pt x="102006" y="26185"/>
                </a:moveTo>
                <a:cubicBezTo>
                  <a:pt x="62670" y="26185"/>
                  <a:pt x="30783" y="58069"/>
                  <a:pt x="30783" y="97403"/>
                </a:cubicBezTo>
                <a:cubicBezTo>
                  <a:pt x="30783" y="110478"/>
                  <a:pt x="34310" y="122729"/>
                  <a:pt x="40458" y="133262"/>
                </a:cubicBezTo>
                <a:lnTo>
                  <a:pt x="30783" y="169652"/>
                </a:lnTo>
                <a:lnTo>
                  <a:pt x="68055" y="160025"/>
                </a:lnTo>
                <a:cubicBezTo>
                  <a:pt x="78151" y="165506"/>
                  <a:pt x="89715" y="168622"/>
                  <a:pt x="102006" y="168622"/>
                </a:cubicBezTo>
                <a:cubicBezTo>
                  <a:pt x="141342" y="168622"/>
                  <a:pt x="173229" y="136737"/>
                  <a:pt x="173229" y="97403"/>
                </a:cubicBezTo>
                <a:cubicBezTo>
                  <a:pt x="173229" y="58069"/>
                  <a:pt x="141342" y="26185"/>
                  <a:pt x="102006" y="26185"/>
                </a:cubicBezTo>
                <a:close/>
                <a:moveTo>
                  <a:pt x="46256" y="0"/>
                </a:moveTo>
                <a:lnTo>
                  <a:pt x="152788" y="0"/>
                </a:lnTo>
                <a:cubicBezTo>
                  <a:pt x="178334" y="0"/>
                  <a:pt x="199043" y="20707"/>
                  <a:pt x="199043" y="46252"/>
                </a:cubicBezTo>
                <a:lnTo>
                  <a:pt x="199043" y="152778"/>
                </a:lnTo>
                <a:cubicBezTo>
                  <a:pt x="199043" y="178323"/>
                  <a:pt x="178334" y="199030"/>
                  <a:pt x="152788" y="199030"/>
                </a:cubicBezTo>
                <a:lnTo>
                  <a:pt x="46256" y="199030"/>
                </a:lnTo>
                <a:cubicBezTo>
                  <a:pt x="20709" y="199030"/>
                  <a:pt x="0" y="178323"/>
                  <a:pt x="0" y="152778"/>
                </a:cubicBezTo>
                <a:lnTo>
                  <a:pt x="0" y="46252"/>
                </a:lnTo>
                <a:cubicBezTo>
                  <a:pt x="0" y="20707"/>
                  <a:pt x="20709" y="0"/>
                  <a:pt x="46256" y="0"/>
                </a:cubicBezTo>
                <a:close/>
              </a:path>
            </a:pathLst>
          </a:custGeom>
          <a:solidFill>
            <a:schemeClr val="accent1"/>
          </a:solidFill>
          <a:ln w="122" cap="flat">
            <a:noFill/>
            <a:prstDash val="solid"/>
            <a:miter/>
          </a:ln>
        </p:spPr>
        <p:txBody>
          <a:bodyPr rtlCol="0" anchor="ctr"/>
          <a:lstStyle/>
          <a:p>
            <a:endParaRPr lang="de-DE"/>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noAutofit/>
          </a:bodyPr>
          <a:lstStyle>
            <a:lvl1pPr rtl="0">
              <a:defRPr>
                <a:solidFill>
                  <a:schemeClr val="tx1"/>
                </a:solidFill>
              </a:defRPr>
            </a:lvl1pPr>
          </a:lstStyle>
          <a:p>
            <a:endParaRPr lang="en-US"/>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noAutofit/>
          </a:bodyPr>
          <a:lstStyle>
            <a:lvl1pPr rtl="0">
              <a:defRPr>
                <a:solidFill>
                  <a:schemeClr val="tx1"/>
                </a:solidFill>
              </a:defRPr>
            </a:lvl1pPr>
          </a:lstStyle>
          <a:p>
            <a:fld id="{C7D046C8-03B9-4997-9490-81EAE2ED7C49}" type="slidenum">
              <a:rPr lang="en-US" smtClean="0"/>
              <a:t>‹Nr.›</a:t>
            </a:fld>
            <a:endParaRPr lang="en-US"/>
          </a:p>
        </p:txBody>
      </p:sp>
    </p:spTree>
    <p:extLst>
      <p:ext uri="{BB962C8B-B14F-4D97-AF65-F5344CB8AC3E}">
        <p14:creationId xmlns:p14="http://schemas.microsoft.com/office/powerpoint/2010/main" val="3137744511"/>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 Kontakte">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1258817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Grafik 16" descr="Bild mit grüner Wellenstruktur füllt 1/3 der Folie aus, darauf die Anschrift der msg systems ag und die Logos von X, Linkedin, Facebook, Instagram und Whatsapp. Links der Titel und bis zu 2 Kontaktpersonen mit Bild.">
            <a:extLst>
              <a:ext uri="{FF2B5EF4-FFF2-40B4-BE49-F238E27FC236}">
                <a16:creationId xmlns:a16="http://schemas.microsoft.com/office/drawing/2014/main" id="{2C46E2E2-FAAD-8778-F409-FE935D426992}"/>
              </a:ext>
              <a:ext uri="{C183D7F6-B498-43B3-948B-1728B52AA6E4}">
                <adec:decorative xmlns:adec="http://schemas.microsoft.com/office/drawing/2017/decorative" val="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bwMode="gray">
          <a:xfrm flipH="1" flipV="1">
            <a:off x="8400680" y="2772"/>
            <a:ext cx="3791319" cy="6855228"/>
          </a:xfrm>
          <a:prstGeom prst="rect">
            <a:avLst/>
          </a:prstGeom>
        </p:spPr>
      </p:pic>
      <p:sp>
        <p:nvSpPr>
          <p:cNvPr id="2" name="Titel 1">
            <a:extLst>
              <a:ext uri="{FF2B5EF4-FFF2-40B4-BE49-F238E27FC236}">
                <a16:creationId xmlns:a16="http://schemas.microsoft.com/office/drawing/2014/main" id="{67B2DF5E-A3CA-9898-6D8E-0DBB2CA2736F}"/>
              </a:ext>
            </a:extLst>
          </p:cNvPr>
          <p:cNvSpPr>
            <a:spLocks noGrp="1"/>
          </p:cNvSpPr>
          <p:nvPr>
            <p:ph type="title"/>
          </p:nvPr>
        </p:nvSpPr>
        <p:spPr bwMode="gray">
          <a:xfrm>
            <a:off x="623889" y="620713"/>
            <a:ext cx="6912280" cy="738664"/>
          </a:xfrm>
        </p:spPr>
        <p:txBody>
          <a:bodyPr vert="horz"/>
          <a:lstStyle/>
          <a:p>
            <a:r>
              <a:rPr lang="de-DE"/>
              <a:t>Mastertitelformat bearbeiten</a:t>
            </a:r>
            <a:endParaRPr lang="de-DE" dirty="0"/>
          </a:p>
        </p:txBody>
      </p:sp>
      <p:sp>
        <p:nvSpPr>
          <p:cNvPr id="16" name="Bildplatzhalter 15">
            <a:extLst>
              <a:ext uri="{FF2B5EF4-FFF2-40B4-BE49-F238E27FC236}">
                <a16:creationId xmlns:a16="http://schemas.microsoft.com/office/drawing/2014/main" id="{971D89B3-93B1-57A2-2934-C51B985EA126}"/>
              </a:ext>
              <a:ext uri="{C183D7F6-B498-43B3-948B-1728B52AA6E4}">
                <adec:decorative xmlns:adec="http://schemas.microsoft.com/office/drawing/2017/decorative" val="0"/>
              </a:ext>
            </a:extLst>
          </p:cNvPr>
          <p:cNvSpPr>
            <a:spLocks noGrp="1"/>
          </p:cNvSpPr>
          <p:nvPr>
            <p:ph type="pic" sz="quarter" idx="12" hasCustomPrompt="1"/>
          </p:nvPr>
        </p:nvSpPr>
        <p:spPr bwMode="gray">
          <a:xfrm>
            <a:off x="623890" y="2205195"/>
            <a:ext cx="1295703" cy="1295703"/>
          </a:xfrm>
          <a:prstGeom prst="ellipse">
            <a:avLst/>
          </a:prstGeom>
          <a:solidFill>
            <a:schemeClr val="bg2"/>
          </a:solidFill>
        </p:spPr>
        <p:txBody>
          <a:bodyPr wrap="square">
            <a:noAutofit/>
          </a:bodyPr>
          <a:lstStyle>
            <a:lvl1pPr rtl="0">
              <a:defRPr sz="1100">
                <a:solidFill>
                  <a:schemeClr val="tx1"/>
                </a:solidFill>
              </a:defRPr>
            </a:lvl1pPr>
          </a:lstStyle>
          <a:p>
            <a:r>
              <a:rPr lang="de-DE" dirty="0"/>
              <a:t>Bild hinzufügen</a:t>
            </a:r>
          </a:p>
        </p:txBody>
      </p:sp>
      <p:sp>
        <p:nvSpPr>
          <p:cNvPr id="40" name="Textplatzhalter 39">
            <a:extLst>
              <a:ext uri="{FF2B5EF4-FFF2-40B4-BE49-F238E27FC236}">
                <a16:creationId xmlns:a16="http://schemas.microsoft.com/office/drawing/2014/main" id="{AFA1D9AC-7FF6-6CF2-35C7-822784B6FBCD}"/>
              </a:ext>
            </a:extLst>
          </p:cNvPr>
          <p:cNvSpPr>
            <a:spLocks noGrp="1"/>
          </p:cNvSpPr>
          <p:nvPr>
            <p:ph type="body" sz="quarter" idx="20"/>
          </p:nvPr>
        </p:nvSpPr>
        <p:spPr bwMode="gray">
          <a:xfrm>
            <a:off x="623889" y="3720129"/>
            <a:ext cx="3251820" cy="1077218"/>
          </a:xfrm>
        </p:spPr>
        <p:txBody>
          <a:bodyPr anchor="t">
            <a:noAutofit/>
          </a:bodyPr>
          <a:lstStyle>
            <a:lvl1pPr marL="0" indent="0" rtl="0">
              <a:spcAft>
                <a:spcPts val="0"/>
              </a:spcAft>
              <a:buFont typeface="Arial" panose="020B0604020202020204" pitchFamily="34" charset="0"/>
              <a:buNone/>
              <a:defRPr sz="1600" b="0">
                <a:solidFill>
                  <a:schemeClr val="tx1"/>
                </a:solidFill>
                <a:latin typeface="+mn-lt"/>
              </a:defRPr>
            </a:lvl1pPr>
            <a:lvl2pPr marL="0" indent="0" rtl="0">
              <a:spcAft>
                <a:spcPts val="0"/>
              </a:spcAft>
              <a:buNone/>
              <a:defRPr sz="16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18" name="Bildplatzhalter 17">
            <a:extLst>
              <a:ext uri="{FF2B5EF4-FFF2-40B4-BE49-F238E27FC236}">
                <a16:creationId xmlns:a16="http://schemas.microsoft.com/office/drawing/2014/main" id="{B8743BA9-5CC3-01F3-D460-A28E65028C1E}"/>
              </a:ext>
              <a:ext uri="{C183D7F6-B498-43B3-948B-1728B52AA6E4}">
                <adec:decorative xmlns:adec="http://schemas.microsoft.com/office/drawing/2017/decorative" val="0"/>
              </a:ext>
            </a:extLst>
          </p:cNvPr>
          <p:cNvSpPr>
            <a:spLocks noGrp="1"/>
          </p:cNvSpPr>
          <p:nvPr>
            <p:ph type="pic" sz="quarter" idx="13" hasCustomPrompt="1"/>
          </p:nvPr>
        </p:nvSpPr>
        <p:spPr bwMode="gray">
          <a:xfrm>
            <a:off x="4305078" y="2205195"/>
            <a:ext cx="1295703" cy="1295703"/>
          </a:xfrm>
          <a:prstGeom prst="ellipse">
            <a:avLst/>
          </a:prstGeom>
          <a:solidFill>
            <a:schemeClr val="bg2"/>
          </a:solidFill>
        </p:spPr>
        <p:txBody>
          <a:bodyPr wrap="square">
            <a:noAutofit/>
          </a:bodyPr>
          <a:lstStyle>
            <a:lvl1pPr rtl="0">
              <a:defRPr sz="11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42" name="Textplatzhalter 41">
            <a:extLst>
              <a:ext uri="{FF2B5EF4-FFF2-40B4-BE49-F238E27FC236}">
                <a16:creationId xmlns:a16="http://schemas.microsoft.com/office/drawing/2014/main" id="{7DD5731B-8B22-6B97-9772-427E558C5370}"/>
              </a:ext>
            </a:extLst>
          </p:cNvPr>
          <p:cNvSpPr>
            <a:spLocks noGrp="1"/>
          </p:cNvSpPr>
          <p:nvPr>
            <p:ph type="body" sz="quarter" idx="21"/>
          </p:nvPr>
        </p:nvSpPr>
        <p:spPr bwMode="gray">
          <a:xfrm>
            <a:off x="4305077" y="3720129"/>
            <a:ext cx="3231091" cy="1077218"/>
          </a:xfrm>
        </p:spPr>
        <p:txBody>
          <a:bodyPr anchor="t">
            <a:noAutofit/>
          </a:bodyPr>
          <a:lstStyle>
            <a:lvl1pPr marL="0" indent="0" rtl="0">
              <a:spcAft>
                <a:spcPts val="0"/>
              </a:spcAft>
              <a:buFont typeface="Arial" panose="020B0604020202020204" pitchFamily="34" charset="0"/>
              <a:buNone/>
              <a:defRPr sz="1600" b="0">
                <a:solidFill>
                  <a:schemeClr val="tx1"/>
                </a:solidFill>
                <a:latin typeface="+mn-lt"/>
              </a:defRPr>
            </a:lvl1pPr>
            <a:lvl2pPr marL="0" indent="0" rtl="0">
              <a:spcAft>
                <a:spcPts val="0"/>
              </a:spcAft>
              <a:buNone/>
              <a:defRPr sz="16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pic>
        <p:nvPicPr>
          <p:cNvPr id="61" name="Grafik 60">
            <a:extLst>
              <a:ext uri="{FF2B5EF4-FFF2-40B4-BE49-F238E27FC236}">
                <a16:creationId xmlns:a16="http://schemas.microsoft.com/office/drawing/2014/main" id="{3B3717A0-5228-5D82-B8DF-3B2F9751835B}"/>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grpSp>
        <p:nvGrpSpPr>
          <p:cNvPr id="27" name="Gruppieren 26">
            <a:extLst>
              <a:ext uri="{FF2B5EF4-FFF2-40B4-BE49-F238E27FC236}">
                <a16:creationId xmlns:a16="http://schemas.microsoft.com/office/drawing/2014/main" id="{D004AE93-6883-EEA0-5811-9F1FA9B7B87D}"/>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29" name="Gerader Verbinder 28">
              <a:extLst>
                <a:ext uri="{FF2B5EF4-FFF2-40B4-BE49-F238E27FC236}">
                  <a16:creationId xmlns:a16="http://schemas.microsoft.com/office/drawing/2014/main" id="{4113D0DE-D42C-0AC8-9E6D-28DBA70BB5E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E2C91D47-E966-3E11-5309-F6092AD08C9F}"/>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1" name="Gruppieren 40">
            <a:extLst>
              <a:ext uri="{FF2B5EF4-FFF2-40B4-BE49-F238E27FC236}">
                <a16:creationId xmlns:a16="http://schemas.microsoft.com/office/drawing/2014/main" id="{CF6C7B07-4851-0848-015E-0F064A497590}"/>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43" name="Gerader Verbinder 42">
              <a:extLst>
                <a:ext uri="{FF2B5EF4-FFF2-40B4-BE49-F238E27FC236}">
                  <a16:creationId xmlns:a16="http://schemas.microsoft.com/office/drawing/2014/main" id="{C691887C-E36A-DC95-1877-3D247F69B54C}"/>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FF25B5F9-3311-5725-039B-F67F7868AD4B}"/>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3" name="Titel 11">
            <a:extLst>
              <a:ext uri="{FF2B5EF4-FFF2-40B4-BE49-F238E27FC236}">
                <a16:creationId xmlns:a16="http://schemas.microsoft.com/office/drawing/2014/main" id="{7044AC19-7BA1-D234-E297-9C750842E162}"/>
              </a:ext>
            </a:extLst>
          </p:cNvPr>
          <p:cNvSpPr txBox="1">
            <a:spLocks/>
          </p:cNvSpPr>
          <p:nvPr/>
        </p:nvSpPr>
        <p:spPr bwMode="gray">
          <a:xfrm>
            <a:off x="8763000" y="4566607"/>
            <a:ext cx="3094038" cy="1526392"/>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r>
              <a:rPr lang="de-DE" sz="1100" b="1" kern="1200" dirty="0" err="1">
                <a:solidFill>
                  <a:schemeClr val="tx1"/>
                </a:solidFill>
                <a:latin typeface="+mj-lt"/>
                <a:ea typeface="+mj-ea"/>
                <a:cs typeface="+mj-cs"/>
              </a:rPr>
              <a:t>msg</a:t>
            </a:r>
            <a:r>
              <a:rPr lang="de-DE" sz="1100" b="1" kern="1200" dirty="0">
                <a:solidFill>
                  <a:schemeClr val="tx1"/>
                </a:solidFill>
                <a:latin typeface="+mj-lt"/>
                <a:ea typeface="+mj-ea"/>
                <a:cs typeface="+mj-cs"/>
              </a:rPr>
              <a:t> </a:t>
            </a:r>
            <a:r>
              <a:rPr lang="de-DE" sz="1100" b="1" kern="1200" dirty="0" err="1">
                <a:solidFill>
                  <a:schemeClr val="tx1"/>
                </a:solidFill>
                <a:latin typeface="+mj-lt"/>
                <a:ea typeface="+mj-ea"/>
                <a:cs typeface="+mj-cs"/>
              </a:rPr>
              <a:t>systems</a:t>
            </a:r>
            <a:r>
              <a:rPr lang="de-DE" sz="1100" b="1" kern="1200" dirty="0">
                <a:solidFill>
                  <a:schemeClr val="tx1"/>
                </a:solidFill>
                <a:latin typeface="+mj-lt"/>
                <a:ea typeface="+mj-ea"/>
                <a:cs typeface="+mj-cs"/>
              </a:rPr>
              <a:t> AG </a:t>
            </a:r>
            <a:br>
              <a:rPr lang="de-DE" sz="1100" dirty="0"/>
            </a:br>
            <a:r>
              <a:rPr lang="de-DE" sz="1100" dirty="0"/>
              <a:t>Robert-Bürkle-Straße 1</a:t>
            </a:r>
            <a:br>
              <a:rPr lang="de-DE" sz="1100" dirty="0"/>
            </a:br>
            <a:r>
              <a:rPr lang="de-DE" sz="1100" dirty="0"/>
              <a:t>85737 Ismaning</a:t>
            </a:r>
          </a:p>
          <a:p>
            <a:pPr>
              <a:spcAft>
                <a:spcPts val="600"/>
              </a:spcAft>
            </a:pPr>
            <a:r>
              <a:rPr lang="de-DE" sz="1100" dirty="0"/>
              <a:t>+49 89 96101-0</a:t>
            </a:r>
            <a:br>
              <a:rPr lang="de-DE" sz="1100" dirty="0"/>
            </a:br>
            <a:r>
              <a:rPr lang="de-DE" sz="1100" dirty="0"/>
              <a:t>+49 89 96101-​1113</a:t>
            </a:r>
          </a:p>
          <a:p>
            <a:pPr>
              <a:spcAft>
                <a:spcPts val="600"/>
              </a:spcAft>
            </a:pPr>
            <a:r>
              <a:rPr lang="de-DE" sz="1100" dirty="0" err="1"/>
              <a:t>info@msg.group</a:t>
            </a:r>
            <a:endParaRPr lang="de-DE" sz="1100" dirty="0"/>
          </a:p>
        </p:txBody>
      </p:sp>
      <p:sp>
        <p:nvSpPr>
          <p:cNvPr id="4" name="Freihandform: Form 3" descr="Logo von X.">
            <a:extLst>
              <a:ext uri="{FF2B5EF4-FFF2-40B4-BE49-F238E27FC236}">
                <a16:creationId xmlns:a16="http://schemas.microsoft.com/office/drawing/2014/main" id="{615C6C00-7645-48A8-B26F-6FC90C9B5424}"/>
              </a:ext>
            </a:extLst>
          </p:cNvPr>
          <p:cNvSpPr>
            <a:spLocks/>
          </p:cNvSpPr>
          <p:nvPr/>
        </p:nvSpPr>
        <p:spPr bwMode="gray">
          <a:xfrm>
            <a:off x="10528883" y="5734050"/>
            <a:ext cx="157950" cy="157940"/>
          </a:xfrm>
          <a:custGeom>
            <a:avLst/>
            <a:gdLst>
              <a:gd name="connsiteX0" fmla="*/ 45533 w 199043"/>
              <a:gd name="connsiteY0" fmla="*/ 59631 h 199030"/>
              <a:gd name="connsiteX1" fmla="*/ 61493 w 199043"/>
              <a:gd name="connsiteY1" fmla="*/ 87817 h 199030"/>
              <a:gd name="connsiteX2" fmla="*/ 40604 w 199043"/>
              <a:gd name="connsiteY2" fmla="*/ 124708 h 199030"/>
              <a:gd name="connsiteX3" fmla="*/ 68687 w 199043"/>
              <a:gd name="connsiteY3" fmla="*/ 124708 h 199030"/>
              <a:gd name="connsiteX4" fmla="*/ 89465 w 199043"/>
              <a:gd name="connsiteY4" fmla="*/ 88013 h 199030"/>
              <a:gd name="connsiteX5" fmla="*/ 89686 w 199043"/>
              <a:gd name="connsiteY5" fmla="*/ 88013 h 199030"/>
              <a:gd name="connsiteX6" fmla="*/ 89575 w 199043"/>
              <a:gd name="connsiteY6" fmla="*/ 87817 h 199030"/>
              <a:gd name="connsiteX7" fmla="*/ 89686 w 199043"/>
              <a:gd name="connsiteY7" fmla="*/ 87621 h 199030"/>
              <a:gd name="connsiteX8" fmla="*/ 89464 w 199043"/>
              <a:gd name="connsiteY8" fmla="*/ 87621 h 199030"/>
              <a:gd name="connsiteX9" fmla="*/ 73615 w 199043"/>
              <a:gd name="connsiteY9" fmla="*/ 59631 h 199030"/>
              <a:gd name="connsiteX10" fmla="*/ 130360 w 199043"/>
              <a:gd name="connsiteY10" fmla="*/ 37561 h 199030"/>
              <a:gd name="connsiteX11" fmla="*/ 87645 w 199043"/>
              <a:gd name="connsiteY11" fmla="*/ 112998 h 199030"/>
              <a:gd name="connsiteX12" fmla="*/ 87423 w 199043"/>
              <a:gd name="connsiteY12" fmla="*/ 112998 h 199030"/>
              <a:gd name="connsiteX13" fmla="*/ 87534 w 199043"/>
              <a:gd name="connsiteY13" fmla="*/ 113194 h 199030"/>
              <a:gd name="connsiteX14" fmla="*/ 87423 w 199043"/>
              <a:gd name="connsiteY14" fmla="*/ 113390 h 199030"/>
              <a:gd name="connsiteX15" fmla="*/ 87645 w 199043"/>
              <a:gd name="connsiteY15" fmla="*/ 113390 h 199030"/>
              <a:gd name="connsiteX16" fmla="*/ 114869 w 199043"/>
              <a:gd name="connsiteY16" fmla="*/ 161469 h 199030"/>
              <a:gd name="connsiteX17" fmla="*/ 142951 w 199043"/>
              <a:gd name="connsiteY17" fmla="*/ 161469 h 199030"/>
              <a:gd name="connsiteX18" fmla="*/ 115616 w 199043"/>
              <a:gd name="connsiteY18" fmla="*/ 113194 h 199030"/>
              <a:gd name="connsiteX19" fmla="*/ 158442 w 199043"/>
              <a:gd name="connsiteY19" fmla="*/ 37561 h 199030"/>
              <a:gd name="connsiteX20" fmla="*/ 46256 w 199043"/>
              <a:gd name="connsiteY20" fmla="*/ 0 h 199030"/>
              <a:gd name="connsiteX21" fmla="*/ 152788 w 199043"/>
              <a:gd name="connsiteY21" fmla="*/ 0 h 199030"/>
              <a:gd name="connsiteX22" fmla="*/ 199043 w 199043"/>
              <a:gd name="connsiteY22" fmla="*/ 46252 h 199030"/>
              <a:gd name="connsiteX23" fmla="*/ 199043 w 199043"/>
              <a:gd name="connsiteY23" fmla="*/ 152778 h 199030"/>
              <a:gd name="connsiteX24" fmla="*/ 152788 w 199043"/>
              <a:gd name="connsiteY24" fmla="*/ 199030 h 199030"/>
              <a:gd name="connsiteX25" fmla="*/ 46256 w 199043"/>
              <a:gd name="connsiteY25" fmla="*/ 199030 h 199030"/>
              <a:gd name="connsiteX26" fmla="*/ 0 w 199043"/>
              <a:gd name="connsiteY26" fmla="*/ 152778 h 199030"/>
              <a:gd name="connsiteX27" fmla="*/ 0 w 199043"/>
              <a:gd name="connsiteY27" fmla="*/ 46252 h 199030"/>
              <a:gd name="connsiteX28" fmla="*/ 46256 w 199043"/>
              <a:gd name="connsiteY28" fmla="*/ 0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9043" h="199030">
                <a:moveTo>
                  <a:pt x="45533" y="59631"/>
                </a:moveTo>
                <a:lnTo>
                  <a:pt x="61493" y="87817"/>
                </a:lnTo>
                <a:lnTo>
                  <a:pt x="40604" y="124708"/>
                </a:lnTo>
                <a:lnTo>
                  <a:pt x="68687" y="124708"/>
                </a:lnTo>
                <a:lnTo>
                  <a:pt x="89465" y="88013"/>
                </a:lnTo>
                <a:lnTo>
                  <a:pt x="89686" y="88013"/>
                </a:lnTo>
                <a:lnTo>
                  <a:pt x="89575" y="87817"/>
                </a:lnTo>
                <a:lnTo>
                  <a:pt x="89686" y="87621"/>
                </a:lnTo>
                <a:lnTo>
                  <a:pt x="89464" y="87621"/>
                </a:lnTo>
                <a:lnTo>
                  <a:pt x="73615" y="59631"/>
                </a:lnTo>
                <a:close/>
                <a:moveTo>
                  <a:pt x="130360" y="37561"/>
                </a:moveTo>
                <a:lnTo>
                  <a:pt x="87645" y="112998"/>
                </a:lnTo>
                <a:lnTo>
                  <a:pt x="87423" y="112998"/>
                </a:lnTo>
                <a:lnTo>
                  <a:pt x="87534" y="113194"/>
                </a:lnTo>
                <a:lnTo>
                  <a:pt x="87423" y="113390"/>
                </a:lnTo>
                <a:lnTo>
                  <a:pt x="87645" y="113390"/>
                </a:lnTo>
                <a:lnTo>
                  <a:pt x="114869" y="161469"/>
                </a:lnTo>
                <a:lnTo>
                  <a:pt x="142951" y="161469"/>
                </a:lnTo>
                <a:lnTo>
                  <a:pt x="115616" y="113194"/>
                </a:lnTo>
                <a:lnTo>
                  <a:pt x="158442" y="37561"/>
                </a:lnTo>
                <a:close/>
                <a:moveTo>
                  <a:pt x="46256" y="0"/>
                </a:moveTo>
                <a:lnTo>
                  <a:pt x="152788" y="0"/>
                </a:lnTo>
                <a:cubicBezTo>
                  <a:pt x="178334" y="0"/>
                  <a:pt x="199043" y="20708"/>
                  <a:pt x="199043" y="46252"/>
                </a:cubicBezTo>
                <a:lnTo>
                  <a:pt x="199043" y="152778"/>
                </a:lnTo>
                <a:cubicBezTo>
                  <a:pt x="199043" y="178323"/>
                  <a:pt x="178334" y="199030"/>
                  <a:pt x="152788" y="199030"/>
                </a:cubicBezTo>
                <a:lnTo>
                  <a:pt x="46256" y="199030"/>
                </a:lnTo>
                <a:cubicBezTo>
                  <a:pt x="20709" y="199030"/>
                  <a:pt x="0" y="178323"/>
                  <a:pt x="0" y="152778"/>
                </a:cubicBezTo>
                <a:lnTo>
                  <a:pt x="0" y="46252"/>
                </a:lnTo>
                <a:cubicBezTo>
                  <a:pt x="0" y="20708"/>
                  <a:pt x="20709" y="0"/>
                  <a:pt x="46256" y="0"/>
                </a:cubicBezTo>
                <a:close/>
              </a:path>
            </a:pathLst>
          </a:custGeom>
          <a:solidFill>
            <a:schemeClr val="accent1"/>
          </a:solidFill>
          <a:ln w="122" cap="flat">
            <a:noFill/>
            <a:prstDash val="solid"/>
            <a:miter/>
          </a:ln>
        </p:spPr>
        <p:txBody>
          <a:bodyPr rtlCol="0" anchor="ctr"/>
          <a:lstStyle/>
          <a:p>
            <a:endParaRPr lang="de-DE"/>
          </a:p>
        </p:txBody>
      </p:sp>
      <p:sp>
        <p:nvSpPr>
          <p:cNvPr id="5" name="Freihandform: Form 4" descr="Logo von LinkedIn.">
            <a:extLst>
              <a:ext uri="{FF2B5EF4-FFF2-40B4-BE49-F238E27FC236}">
                <a16:creationId xmlns:a16="http://schemas.microsoft.com/office/drawing/2014/main" id="{FF807BBF-8DB4-420C-E6E8-5764AF0321EC}"/>
              </a:ext>
            </a:extLst>
          </p:cNvPr>
          <p:cNvSpPr>
            <a:spLocks/>
          </p:cNvSpPr>
          <p:nvPr/>
        </p:nvSpPr>
        <p:spPr bwMode="gray">
          <a:xfrm>
            <a:off x="10772537" y="5734050"/>
            <a:ext cx="157950" cy="157940"/>
          </a:xfrm>
          <a:custGeom>
            <a:avLst/>
            <a:gdLst>
              <a:gd name="connsiteX0" fmla="*/ 216671 w 277293"/>
              <a:gd name="connsiteY0" fmla="*/ 0 h 277276"/>
              <a:gd name="connsiteX1" fmla="*/ 60623 w 277293"/>
              <a:gd name="connsiteY1" fmla="*/ 0 h 277276"/>
              <a:gd name="connsiteX2" fmla="*/ 0 w 277293"/>
              <a:gd name="connsiteY2" fmla="*/ 60619 h 277276"/>
              <a:gd name="connsiteX3" fmla="*/ 0 w 277293"/>
              <a:gd name="connsiteY3" fmla="*/ 216657 h 277276"/>
              <a:gd name="connsiteX4" fmla="*/ 60623 w 277293"/>
              <a:gd name="connsiteY4" fmla="*/ 277276 h 277276"/>
              <a:gd name="connsiteX5" fmla="*/ 216671 w 277293"/>
              <a:gd name="connsiteY5" fmla="*/ 277276 h 277276"/>
              <a:gd name="connsiteX6" fmla="*/ 277294 w 277293"/>
              <a:gd name="connsiteY6" fmla="*/ 216657 h 277276"/>
              <a:gd name="connsiteX7" fmla="*/ 277294 w 277293"/>
              <a:gd name="connsiteY7" fmla="*/ 60619 h 277276"/>
              <a:gd name="connsiteX8" fmla="*/ 216671 w 277293"/>
              <a:gd name="connsiteY8" fmla="*/ 0 h 277276"/>
              <a:gd name="connsiteX9" fmla="*/ 81881 w 277293"/>
              <a:gd name="connsiteY9" fmla="*/ 235422 h 277276"/>
              <a:gd name="connsiteX10" fmla="*/ 40284 w 277293"/>
              <a:gd name="connsiteY10" fmla="*/ 235422 h 277276"/>
              <a:gd name="connsiteX11" fmla="*/ 40284 w 277293"/>
              <a:gd name="connsiteY11" fmla="*/ 103583 h 277276"/>
              <a:gd name="connsiteX12" fmla="*/ 81881 w 277293"/>
              <a:gd name="connsiteY12" fmla="*/ 103583 h 277276"/>
              <a:gd name="connsiteX13" fmla="*/ 81881 w 277293"/>
              <a:gd name="connsiteY13" fmla="*/ 235422 h 277276"/>
              <a:gd name="connsiteX14" fmla="*/ 61400 w 277293"/>
              <a:gd name="connsiteY14" fmla="*/ 84984 h 277276"/>
              <a:gd name="connsiteX15" fmla="*/ 37465 w 277293"/>
              <a:gd name="connsiteY15" fmla="*/ 61051 h 277276"/>
              <a:gd name="connsiteX16" fmla="*/ 61400 w 277293"/>
              <a:gd name="connsiteY16" fmla="*/ 37118 h 277276"/>
              <a:gd name="connsiteX17" fmla="*/ 85335 w 277293"/>
              <a:gd name="connsiteY17" fmla="*/ 61051 h 277276"/>
              <a:gd name="connsiteX18" fmla="*/ 61400 w 277293"/>
              <a:gd name="connsiteY18" fmla="*/ 84984 h 277276"/>
              <a:gd name="connsiteX19" fmla="*/ 236227 w 277293"/>
              <a:gd name="connsiteY19" fmla="*/ 235422 h 277276"/>
              <a:gd name="connsiteX20" fmla="*/ 195154 w 277293"/>
              <a:gd name="connsiteY20" fmla="*/ 235422 h 277276"/>
              <a:gd name="connsiteX21" fmla="*/ 195154 w 277293"/>
              <a:gd name="connsiteY21" fmla="*/ 160607 h 277276"/>
              <a:gd name="connsiteX22" fmla="*/ 173704 w 277293"/>
              <a:gd name="connsiteY22" fmla="*/ 135755 h 277276"/>
              <a:gd name="connsiteX23" fmla="*/ 149375 w 277293"/>
              <a:gd name="connsiteY23" fmla="*/ 166361 h 277276"/>
              <a:gd name="connsiteX24" fmla="*/ 149375 w 277293"/>
              <a:gd name="connsiteY24" fmla="*/ 235416 h 277276"/>
              <a:gd name="connsiteX25" fmla="*/ 107777 w 277293"/>
              <a:gd name="connsiteY25" fmla="*/ 235416 h 277276"/>
              <a:gd name="connsiteX26" fmla="*/ 107777 w 277293"/>
              <a:gd name="connsiteY26" fmla="*/ 103577 h 277276"/>
              <a:gd name="connsiteX27" fmla="*/ 147802 w 277293"/>
              <a:gd name="connsiteY27" fmla="*/ 103577 h 277276"/>
              <a:gd name="connsiteX28" fmla="*/ 147802 w 277293"/>
              <a:gd name="connsiteY28" fmla="*/ 121627 h 277276"/>
              <a:gd name="connsiteX29" fmla="*/ 189134 w 277293"/>
              <a:gd name="connsiteY29" fmla="*/ 99655 h 277276"/>
              <a:gd name="connsiteX30" fmla="*/ 236221 w 277293"/>
              <a:gd name="connsiteY30" fmla="*/ 157203 h 277276"/>
              <a:gd name="connsiteX31" fmla="*/ 236221 w 277293"/>
              <a:gd name="connsiteY31" fmla="*/ 235416 h 277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7293" h="277276">
                <a:moveTo>
                  <a:pt x="216671" y="0"/>
                </a:moveTo>
                <a:lnTo>
                  <a:pt x="60623" y="0"/>
                </a:lnTo>
                <a:cubicBezTo>
                  <a:pt x="27142" y="0"/>
                  <a:pt x="0" y="27140"/>
                  <a:pt x="0" y="60619"/>
                </a:cubicBezTo>
                <a:lnTo>
                  <a:pt x="0" y="216657"/>
                </a:lnTo>
                <a:cubicBezTo>
                  <a:pt x="0" y="250136"/>
                  <a:pt x="27142" y="277276"/>
                  <a:pt x="60623" y="277276"/>
                </a:cubicBezTo>
                <a:lnTo>
                  <a:pt x="216671" y="277276"/>
                </a:lnTo>
                <a:cubicBezTo>
                  <a:pt x="250152" y="277276"/>
                  <a:pt x="277294" y="250136"/>
                  <a:pt x="277294" y="216657"/>
                </a:cubicBezTo>
                <a:lnTo>
                  <a:pt x="277294" y="60619"/>
                </a:lnTo>
                <a:cubicBezTo>
                  <a:pt x="277294" y="27140"/>
                  <a:pt x="250152" y="0"/>
                  <a:pt x="216671" y="0"/>
                </a:cubicBezTo>
                <a:close/>
                <a:moveTo>
                  <a:pt x="81881" y="235422"/>
                </a:moveTo>
                <a:lnTo>
                  <a:pt x="40284" y="235422"/>
                </a:lnTo>
                <a:lnTo>
                  <a:pt x="40284" y="103583"/>
                </a:lnTo>
                <a:lnTo>
                  <a:pt x="81881" y="103583"/>
                </a:lnTo>
                <a:lnTo>
                  <a:pt x="81881" y="235422"/>
                </a:lnTo>
                <a:close/>
                <a:moveTo>
                  <a:pt x="61400" y="84984"/>
                </a:moveTo>
                <a:cubicBezTo>
                  <a:pt x="48178" y="84984"/>
                  <a:pt x="37465" y="74266"/>
                  <a:pt x="37465" y="61051"/>
                </a:cubicBezTo>
                <a:cubicBezTo>
                  <a:pt x="37465" y="47836"/>
                  <a:pt x="48184" y="37118"/>
                  <a:pt x="61400" y="37118"/>
                </a:cubicBezTo>
                <a:cubicBezTo>
                  <a:pt x="74616" y="37118"/>
                  <a:pt x="85335" y="47836"/>
                  <a:pt x="85335" y="61051"/>
                </a:cubicBezTo>
                <a:cubicBezTo>
                  <a:pt x="85335" y="74266"/>
                  <a:pt x="74616" y="84984"/>
                  <a:pt x="61400" y="84984"/>
                </a:cubicBezTo>
                <a:close/>
                <a:moveTo>
                  <a:pt x="236227" y="235422"/>
                </a:moveTo>
                <a:lnTo>
                  <a:pt x="195154" y="235422"/>
                </a:lnTo>
                <a:lnTo>
                  <a:pt x="195154" y="160607"/>
                </a:lnTo>
                <a:cubicBezTo>
                  <a:pt x="195154" y="160607"/>
                  <a:pt x="195154" y="135755"/>
                  <a:pt x="173704" y="135755"/>
                </a:cubicBezTo>
                <a:cubicBezTo>
                  <a:pt x="152255" y="135755"/>
                  <a:pt x="149375" y="156944"/>
                  <a:pt x="149375" y="166361"/>
                </a:cubicBezTo>
                <a:lnTo>
                  <a:pt x="149375" y="235416"/>
                </a:lnTo>
                <a:lnTo>
                  <a:pt x="107777" y="235416"/>
                </a:lnTo>
                <a:lnTo>
                  <a:pt x="107777" y="103577"/>
                </a:lnTo>
                <a:lnTo>
                  <a:pt x="147802" y="103577"/>
                </a:lnTo>
                <a:lnTo>
                  <a:pt x="147802" y="121627"/>
                </a:lnTo>
                <a:cubicBezTo>
                  <a:pt x="147802" y="121627"/>
                  <a:pt x="156960" y="99655"/>
                  <a:pt x="189134" y="99655"/>
                </a:cubicBezTo>
                <a:cubicBezTo>
                  <a:pt x="221308" y="99655"/>
                  <a:pt x="236221" y="120061"/>
                  <a:pt x="236221" y="157203"/>
                </a:cubicBezTo>
                <a:lnTo>
                  <a:pt x="236221" y="235416"/>
                </a:lnTo>
                <a:close/>
              </a:path>
            </a:pathLst>
          </a:custGeom>
          <a:solidFill>
            <a:schemeClr val="accent1"/>
          </a:solidFill>
          <a:ln w="122" cap="flat">
            <a:noFill/>
            <a:prstDash val="solid"/>
            <a:miter/>
          </a:ln>
        </p:spPr>
        <p:txBody>
          <a:bodyPr rtlCol="0" anchor="ctr"/>
          <a:lstStyle/>
          <a:p>
            <a:endParaRPr lang="de-DE"/>
          </a:p>
        </p:txBody>
      </p:sp>
      <p:sp>
        <p:nvSpPr>
          <p:cNvPr id="6" name="Freihandform: Form 5" descr="Logo von Facebook.">
            <a:extLst>
              <a:ext uri="{FF2B5EF4-FFF2-40B4-BE49-F238E27FC236}">
                <a16:creationId xmlns:a16="http://schemas.microsoft.com/office/drawing/2014/main" id="{9D39F3E4-848D-175E-34DC-47DACB095525}"/>
              </a:ext>
            </a:extLst>
          </p:cNvPr>
          <p:cNvSpPr>
            <a:spLocks/>
          </p:cNvSpPr>
          <p:nvPr/>
        </p:nvSpPr>
        <p:spPr bwMode="gray">
          <a:xfrm>
            <a:off x="11016191" y="5734050"/>
            <a:ext cx="157950" cy="157940"/>
          </a:xfrm>
          <a:custGeom>
            <a:avLst/>
            <a:gdLst>
              <a:gd name="connsiteX0" fmla="*/ 216073 w 277287"/>
              <a:gd name="connsiteY0" fmla="*/ 0 h 277282"/>
              <a:gd name="connsiteX1" fmla="*/ 61221 w 277287"/>
              <a:gd name="connsiteY1" fmla="*/ 0 h 277282"/>
              <a:gd name="connsiteX2" fmla="*/ 0 w 277287"/>
              <a:gd name="connsiteY2" fmla="*/ 61217 h 277282"/>
              <a:gd name="connsiteX3" fmla="*/ 0 w 277287"/>
              <a:gd name="connsiteY3" fmla="*/ 216059 h 277282"/>
              <a:gd name="connsiteX4" fmla="*/ 61221 w 277287"/>
              <a:gd name="connsiteY4" fmla="*/ 277276 h 277282"/>
              <a:gd name="connsiteX5" fmla="*/ 127858 w 277287"/>
              <a:gd name="connsiteY5" fmla="*/ 277276 h 277282"/>
              <a:gd name="connsiteX6" fmla="*/ 127858 w 277287"/>
              <a:gd name="connsiteY6" fmla="*/ 183961 h 277282"/>
              <a:gd name="connsiteX7" fmla="*/ 90071 w 277287"/>
              <a:gd name="connsiteY7" fmla="*/ 183961 h 277282"/>
              <a:gd name="connsiteX8" fmla="*/ 90071 w 277287"/>
              <a:gd name="connsiteY8" fmla="*/ 141028 h 277282"/>
              <a:gd name="connsiteX9" fmla="*/ 127858 w 277287"/>
              <a:gd name="connsiteY9" fmla="*/ 141028 h 277282"/>
              <a:gd name="connsiteX10" fmla="*/ 127858 w 277287"/>
              <a:gd name="connsiteY10" fmla="*/ 105538 h 277282"/>
              <a:gd name="connsiteX11" fmla="*/ 183387 w 277287"/>
              <a:gd name="connsiteY11" fmla="*/ 50012 h 277282"/>
              <a:gd name="connsiteX12" fmla="*/ 216017 w 277287"/>
              <a:gd name="connsiteY12" fmla="*/ 51159 h 277282"/>
              <a:gd name="connsiteX13" fmla="*/ 216017 w 277287"/>
              <a:gd name="connsiteY13" fmla="*/ 91231 h 277282"/>
              <a:gd name="connsiteX14" fmla="*/ 193994 w 277287"/>
              <a:gd name="connsiteY14" fmla="*/ 90658 h 277282"/>
              <a:gd name="connsiteX15" fmla="*/ 175369 w 277287"/>
              <a:gd name="connsiteY15" fmla="*/ 109281 h 277282"/>
              <a:gd name="connsiteX16" fmla="*/ 175369 w 277287"/>
              <a:gd name="connsiteY16" fmla="*/ 141034 h 277282"/>
              <a:gd name="connsiteX17" fmla="*/ 216017 w 277287"/>
              <a:gd name="connsiteY17" fmla="*/ 141034 h 277282"/>
              <a:gd name="connsiteX18" fmla="*/ 209147 w 277287"/>
              <a:gd name="connsiteY18" fmla="*/ 183967 h 277282"/>
              <a:gd name="connsiteX19" fmla="*/ 175369 w 277287"/>
              <a:gd name="connsiteY19" fmla="*/ 183967 h 277282"/>
              <a:gd name="connsiteX20" fmla="*/ 175369 w 277287"/>
              <a:gd name="connsiteY20" fmla="*/ 277282 h 277282"/>
              <a:gd name="connsiteX21" fmla="*/ 216066 w 277287"/>
              <a:gd name="connsiteY21" fmla="*/ 277282 h 277282"/>
              <a:gd name="connsiteX22" fmla="*/ 277288 w 277287"/>
              <a:gd name="connsiteY22" fmla="*/ 216065 h 277282"/>
              <a:gd name="connsiteX23" fmla="*/ 277288 w 277287"/>
              <a:gd name="connsiteY23" fmla="*/ 61217 h 277282"/>
              <a:gd name="connsiteX24" fmla="*/ 216066 w 277287"/>
              <a:gd name="connsiteY24" fmla="*/ 0 h 277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7287" h="277282">
                <a:moveTo>
                  <a:pt x="216073" y="0"/>
                </a:moveTo>
                <a:lnTo>
                  <a:pt x="61221" y="0"/>
                </a:lnTo>
                <a:cubicBezTo>
                  <a:pt x="27407" y="0"/>
                  <a:pt x="0" y="27405"/>
                  <a:pt x="0" y="61217"/>
                </a:cubicBezTo>
                <a:lnTo>
                  <a:pt x="0" y="216059"/>
                </a:lnTo>
                <a:cubicBezTo>
                  <a:pt x="0" y="249865"/>
                  <a:pt x="27407" y="277276"/>
                  <a:pt x="61221" y="277276"/>
                </a:cubicBezTo>
                <a:lnTo>
                  <a:pt x="127858" y="277276"/>
                </a:lnTo>
                <a:lnTo>
                  <a:pt x="127858" y="183961"/>
                </a:lnTo>
                <a:lnTo>
                  <a:pt x="90071" y="183961"/>
                </a:lnTo>
                <a:lnTo>
                  <a:pt x="90071" y="141028"/>
                </a:lnTo>
                <a:lnTo>
                  <a:pt x="127858" y="141028"/>
                </a:lnTo>
                <a:lnTo>
                  <a:pt x="127858" y="105538"/>
                </a:lnTo>
                <a:cubicBezTo>
                  <a:pt x="127858" y="74871"/>
                  <a:pt x="152717" y="50012"/>
                  <a:pt x="183387" y="50012"/>
                </a:cubicBezTo>
                <a:lnTo>
                  <a:pt x="216017" y="51159"/>
                </a:lnTo>
                <a:lnTo>
                  <a:pt x="216017" y="91231"/>
                </a:lnTo>
                <a:lnTo>
                  <a:pt x="193994" y="90658"/>
                </a:lnTo>
                <a:cubicBezTo>
                  <a:pt x="183707" y="90658"/>
                  <a:pt x="175369" y="98995"/>
                  <a:pt x="175369" y="109281"/>
                </a:cubicBezTo>
                <a:lnTo>
                  <a:pt x="175369" y="141034"/>
                </a:lnTo>
                <a:lnTo>
                  <a:pt x="216017" y="141034"/>
                </a:lnTo>
                <a:lnTo>
                  <a:pt x="209147" y="183967"/>
                </a:lnTo>
                <a:lnTo>
                  <a:pt x="175369" y="183967"/>
                </a:lnTo>
                <a:lnTo>
                  <a:pt x="175369" y="277282"/>
                </a:lnTo>
                <a:lnTo>
                  <a:pt x="216066" y="277282"/>
                </a:lnTo>
                <a:cubicBezTo>
                  <a:pt x="249875" y="277282"/>
                  <a:pt x="277288" y="249877"/>
                  <a:pt x="277288" y="216065"/>
                </a:cubicBezTo>
                <a:lnTo>
                  <a:pt x="277288" y="61217"/>
                </a:lnTo>
                <a:cubicBezTo>
                  <a:pt x="277288" y="27411"/>
                  <a:pt x="249881" y="0"/>
                  <a:pt x="216066" y="0"/>
                </a:cubicBezTo>
                <a:close/>
              </a:path>
            </a:pathLst>
          </a:custGeom>
          <a:solidFill>
            <a:schemeClr val="accent1"/>
          </a:solidFill>
          <a:ln w="122" cap="flat">
            <a:noFill/>
            <a:prstDash val="solid"/>
            <a:miter/>
          </a:ln>
        </p:spPr>
        <p:txBody>
          <a:bodyPr rtlCol="0" anchor="ctr"/>
          <a:lstStyle/>
          <a:p>
            <a:endParaRPr lang="de-DE"/>
          </a:p>
        </p:txBody>
      </p:sp>
      <p:sp>
        <p:nvSpPr>
          <p:cNvPr id="7" name="Freihandform: Form 6" descr="Logo von Instagram.">
            <a:extLst>
              <a:ext uri="{FF2B5EF4-FFF2-40B4-BE49-F238E27FC236}">
                <a16:creationId xmlns:a16="http://schemas.microsoft.com/office/drawing/2014/main" id="{86869B5A-2E35-A567-C379-65EE09109D4C}"/>
              </a:ext>
            </a:extLst>
          </p:cNvPr>
          <p:cNvSpPr>
            <a:spLocks/>
          </p:cNvSpPr>
          <p:nvPr/>
        </p:nvSpPr>
        <p:spPr bwMode="gray">
          <a:xfrm>
            <a:off x="11259844" y="5734050"/>
            <a:ext cx="157951" cy="157940"/>
          </a:xfrm>
          <a:custGeom>
            <a:avLst/>
            <a:gdLst>
              <a:gd name="connsiteX0" fmla="*/ 105406 w 199044"/>
              <a:gd name="connsiteY0" fmla="*/ 74501 h 199030"/>
              <a:gd name="connsiteX1" fmla="*/ 124504 w 199044"/>
              <a:gd name="connsiteY1" fmla="*/ 105400 h 199030"/>
              <a:gd name="connsiteX2" fmla="*/ 93605 w 199044"/>
              <a:gd name="connsiteY2" fmla="*/ 124500 h 199030"/>
              <a:gd name="connsiteX3" fmla="*/ 74506 w 199044"/>
              <a:gd name="connsiteY3" fmla="*/ 93600 h 199030"/>
              <a:gd name="connsiteX4" fmla="*/ 105406 w 199044"/>
              <a:gd name="connsiteY4" fmla="*/ 74501 h 199030"/>
              <a:gd name="connsiteX5" fmla="*/ 99519 w 199044"/>
              <a:gd name="connsiteY5" fmla="*/ 61049 h 199030"/>
              <a:gd name="connsiteX6" fmla="*/ 61053 w 199044"/>
              <a:gd name="connsiteY6" fmla="*/ 99512 h 199030"/>
              <a:gd name="connsiteX7" fmla="*/ 99519 w 199044"/>
              <a:gd name="connsiteY7" fmla="*/ 137974 h 199030"/>
              <a:gd name="connsiteX8" fmla="*/ 137985 w 199044"/>
              <a:gd name="connsiteY8" fmla="*/ 99512 h 199030"/>
              <a:gd name="connsiteX9" fmla="*/ 99519 w 199044"/>
              <a:gd name="connsiteY9" fmla="*/ 61049 h 199030"/>
              <a:gd name="connsiteX10" fmla="*/ 138739 w 199044"/>
              <a:gd name="connsiteY10" fmla="*/ 50176 h 199030"/>
              <a:gd name="connsiteX11" fmla="*/ 129774 w 199044"/>
              <a:gd name="connsiteY11" fmla="*/ 59141 h 199030"/>
              <a:gd name="connsiteX12" fmla="*/ 138739 w 199044"/>
              <a:gd name="connsiteY12" fmla="*/ 68105 h 199030"/>
              <a:gd name="connsiteX13" fmla="*/ 147704 w 199044"/>
              <a:gd name="connsiteY13" fmla="*/ 59141 h 199030"/>
              <a:gd name="connsiteX14" fmla="*/ 138739 w 199044"/>
              <a:gd name="connsiteY14" fmla="*/ 50176 h 199030"/>
              <a:gd name="connsiteX15" fmla="*/ 67458 w 199044"/>
              <a:gd name="connsiteY15" fmla="*/ 38818 h 199030"/>
              <a:gd name="connsiteX16" fmla="*/ 131584 w 199044"/>
              <a:gd name="connsiteY16" fmla="*/ 38818 h 199030"/>
              <a:gd name="connsiteX17" fmla="*/ 160222 w 199044"/>
              <a:gd name="connsiteY17" fmla="*/ 67453 h 199030"/>
              <a:gd name="connsiteX18" fmla="*/ 160222 w 199044"/>
              <a:gd name="connsiteY18" fmla="*/ 131574 h 199030"/>
              <a:gd name="connsiteX19" fmla="*/ 131584 w 199044"/>
              <a:gd name="connsiteY19" fmla="*/ 160210 h 199030"/>
              <a:gd name="connsiteX20" fmla="*/ 67458 w 199044"/>
              <a:gd name="connsiteY20" fmla="*/ 160210 h 199030"/>
              <a:gd name="connsiteX21" fmla="*/ 38820 w 199044"/>
              <a:gd name="connsiteY21" fmla="*/ 131574 h 199030"/>
              <a:gd name="connsiteX22" fmla="*/ 38820 w 199044"/>
              <a:gd name="connsiteY22" fmla="*/ 67453 h 199030"/>
              <a:gd name="connsiteX23" fmla="*/ 67458 w 199044"/>
              <a:gd name="connsiteY23" fmla="*/ 38818 h 199030"/>
              <a:gd name="connsiteX24" fmla="*/ 67459 w 199044"/>
              <a:gd name="connsiteY24" fmla="*/ 23530 h 199030"/>
              <a:gd name="connsiteX25" fmla="*/ 23531 w 199044"/>
              <a:gd name="connsiteY25" fmla="*/ 67453 h 199030"/>
              <a:gd name="connsiteX26" fmla="*/ 23531 w 199044"/>
              <a:gd name="connsiteY26" fmla="*/ 131573 h 199030"/>
              <a:gd name="connsiteX27" fmla="*/ 67459 w 199044"/>
              <a:gd name="connsiteY27" fmla="*/ 175497 h 199030"/>
              <a:gd name="connsiteX28" fmla="*/ 131585 w 199044"/>
              <a:gd name="connsiteY28" fmla="*/ 175497 h 199030"/>
              <a:gd name="connsiteX29" fmla="*/ 175512 w 199044"/>
              <a:gd name="connsiteY29" fmla="*/ 131573 h 199030"/>
              <a:gd name="connsiteX30" fmla="*/ 175512 w 199044"/>
              <a:gd name="connsiteY30" fmla="*/ 67453 h 199030"/>
              <a:gd name="connsiteX31" fmla="*/ 131585 w 199044"/>
              <a:gd name="connsiteY31" fmla="*/ 23530 h 199030"/>
              <a:gd name="connsiteX32" fmla="*/ 155098 w 199044"/>
              <a:gd name="connsiteY32" fmla="*/ 0 h 199030"/>
              <a:gd name="connsiteX33" fmla="*/ 199044 w 199044"/>
              <a:gd name="connsiteY33" fmla="*/ 43942 h 199030"/>
              <a:gd name="connsiteX34" fmla="*/ 199044 w 199044"/>
              <a:gd name="connsiteY34" fmla="*/ 155089 h 199030"/>
              <a:gd name="connsiteX35" fmla="*/ 155098 w 199044"/>
              <a:gd name="connsiteY35" fmla="*/ 199030 h 199030"/>
              <a:gd name="connsiteX36" fmla="*/ 43946 w 199044"/>
              <a:gd name="connsiteY36" fmla="*/ 199030 h 199030"/>
              <a:gd name="connsiteX37" fmla="*/ 0 w 199044"/>
              <a:gd name="connsiteY37" fmla="*/ 155089 h 199030"/>
              <a:gd name="connsiteX38" fmla="*/ 0 w 199044"/>
              <a:gd name="connsiteY38" fmla="*/ 43946 h 199030"/>
              <a:gd name="connsiteX39" fmla="*/ 43946 w 199044"/>
              <a:gd name="connsiteY39" fmla="*/ 4 h 199030"/>
              <a:gd name="connsiteX40" fmla="*/ 155098 w 199044"/>
              <a:gd name="connsiteY40" fmla="*/ 4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99044" h="199030">
                <a:moveTo>
                  <a:pt x="105406" y="74501"/>
                </a:moveTo>
                <a:cubicBezTo>
                  <a:pt x="119212" y="77760"/>
                  <a:pt x="127762" y="91594"/>
                  <a:pt x="124504" y="105400"/>
                </a:cubicBezTo>
                <a:cubicBezTo>
                  <a:pt x="121245" y="119207"/>
                  <a:pt x="107412" y="127758"/>
                  <a:pt x="93605" y="124500"/>
                </a:cubicBezTo>
                <a:cubicBezTo>
                  <a:pt x="79798" y="121241"/>
                  <a:pt x="71248" y="107407"/>
                  <a:pt x="74506" y="93600"/>
                </a:cubicBezTo>
                <a:cubicBezTo>
                  <a:pt x="77765" y="79793"/>
                  <a:pt x="91599" y="71242"/>
                  <a:pt x="105406" y="74501"/>
                </a:cubicBezTo>
                <a:close/>
                <a:moveTo>
                  <a:pt x="99519" y="61049"/>
                </a:moveTo>
                <a:cubicBezTo>
                  <a:pt x="78310" y="61049"/>
                  <a:pt x="61053" y="78304"/>
                  <a:pt x="61053" y="99512"/>
                </a:cubicBezTo>
                <a:cubicBezTo>
                  <a:pt x="61053" y="120719"/>
                  <a:pt x="78310" y="137974"/>
                  <a:pt x="99519" y="137974"/>
                </a:cubicBezTo>
                <a:cubicBezTo>
                  <a:pt x="120728" y="137974"/>
                  <a:pt x="137985" y="120719"/>
                  <a:pt x="137985" y="99512"/>
                </a:cubicBezTo>
                <a:cubicBezTo>
                  <a:pt x="137985" y="78304"/>
                  <a:pt x="120728" y="61049"/>
                  <a:pt x="99519" y="61049"/>
                </a:cubicBezTo>
                <a:close/>
                <a:moveTo>
                  <a:pt x="138739" y="50176"/>
                </a:moveTo>
                <a:cubicBezTo>
                  <a:pt x="133789" y="50176"/>
                  <a:pt x="129774" y="54191"/>
                  <a:pt x="129774" y="59141"/>
                </a:cubicBezTo>
                <a:cubicBezTo>
                  <a:pt x="129774" y="64090"/>
                  <a:pt x="133789" y="68105"/>
                  <a:pt x="138739" y="68105"/>
                </a:cubicBezTo>
                <a:cubicBezTo>
                  <a:pt x="143689" y="68105"/>
                  <a:pt x="147704" y="64090"/>
                  <a:pt x="147704" y="59141"/>
                </a:cubicBezTo>
                <a:cubicBezTo>
                  <a:pt x="147704" y="54191"/>
                  <a:pt x="143689" y="50176"/>
                  <a:pt x="138739" y="50176"/>
                </a:cubicBezTo>
                <a:close/>
                <a:moveTo>
                  <a:pt x="67458" y="38818"/>
                </a:moveTo>
                <a:lnTo>
                  <a:pt x="131584" y="38818"/>
                </a:lnTo>
                <a:cubicBezTo>
                  <a:pt x="147376" y="38818"/>
                  <a:pt x="160222" y="51663"/>
                  <a:pt x="160222" y="67453"/>
                </a:cubicBezTo>
                <a:lnTo>
                  <a:pt x="160222" y="131574"/>
                </a:lnTo>
                <a:cubicBezTo>
                  <a:pt x="160222" y="147365"/>
                  <a:pt x="147376" y="160210"/>
                  <a:pt x="131584" y="160210"/>
                </a:cubicBezTo>
                <a:lnTo>
                  <a:pt x="67458" y="160210"/>
                </a:lnTo>
                <a:cubicBezTo>
                  <a:pt x="51666" y="160210"/>
                  <a:pt x="38820" y="147365"/>
                  <a:pt x="38820" y="131574"/>
                </a:cubicBezTo>
                <a:lnTo>
                  <a:pt x="38820" y="67453"/>
                </a:lnTo>
                <a:cubicBezTo>
                  <a:pt x="38820" y="51663"/>
                  <a:pt x="51666" y="38818"/>
                  <a:pt x="67458" y="38818"/>
                </a:cubicBezTo>
                <a:close/>
                <a:moveTo>
                  <a:pt x="67459" y="23530"/>
                </a:moveTo>
                <a:cubicBezTo>
                  <a:pt x="43236" y="23530"/>
                  <a:pt x="23531" y="43232"/>
                  <a:pt x="23531" y="67453"/>
                </a:cubicBezTo>
                <a:lnTo>
                  <a:pt x="23531" y="131573"/>
                </a:lnTo>
                <a:cubicBezTo>
                  <a:pt x="23531" y="155794"/>
                  <a:pt x="43236" y="175497"/>
                  <a:pt x="67459" y="175497"/>
                </a:cubicBezTo>
                <a:lnTo>
                  <a:pt x="131585" y="175497"/>
                </a:lnTo>
                <a:cubicBezTo>
                  <a:pt x="155808" y="175497"/>
                  <a:pt x="175512" y="155794"/>
                  <a:pt x="175512" y="131573"/>
                </a:cubicBezTo>
                <a:lnTo>
                  <a:pt x="175512" y="67453"/>
                </a:lnTo>
                <a:cubicBezTo>
                  <a:pt x="175512" y="43232"/>
                  <a:pt x="155808" y="23530"/>
                  <a:pt x="131585" y="23530"/>
                </a:cubicBezTo>
                <a:close/>
                <a:moveTo>
                  <a:pt x="155098" y="0"/>
                </a:moveTo>
                <a:cubicBezTo>
                  <a:pt x="179371" y="0"/>
                  <a:pt x="199044" y="19676"/>
                  <a:pt x="199044" y="43942"/>
                </a:cubicBezTo>
                <a:lnTo>
                  <a:pt x="199044" y="155089"/>
                </a:lnTo>
                <a:cubicBezTo>
                  <a:pt x="199044" y="179359"/>
                  <a:pt x="179366" y="199030"/>
                  <a:pt x="155098" y="199030"/>
                </a:cubicBezTo>
                <a:lnTo>
                  <a:pt x="43946" y="199030"/>
                </a:lnTo>
                <a:cubicBezTo>
                  <a:pt x="19673" y="199030"/>
                  <a:pt x="0" y="179355"/>
                  <a:pt x="0" y="155089"/>
                </a:cubicBezTo>
                <a:lnTo>
                  <a:pt x="0" y="43946"/>
                </a:lnTo>
                <a:cubicBezTo>
                  <a:pt x="0" y="19676"/>
                  <a:pt x="19677" y="4"/>
                  <a:pt x="43946" y="4"/>
                </a:cubicBezTo>
                <a:lnTo>
                  <a:pt x="155098" y="4"/>
                </a:lnTo>
                <a:close/>
              </a:path>
            </a:pathLst>
          </a:custGeom>
          <a:solidFill>
            <a:schemeClr val="accent1"/>
          </a:solidFill>
          <a:ln w="122" cap="flat">
            <a:noFill/>
            <a:prstDash val="solid"/>
            <a:miter/>
          </a:ln>
        </p:spPr>
        <p:txBody>
          <a:bodyPr rtlCol="0" anchor="ctr"/>
          <a:lstStyle/>
          <a:p>
            <a:endParaRPr lang="de-DE"/>
          </a:p>
        </p:txBody>
      </p:sp>
      <p:sp>
        <p:nvSpPr>
          <p:cNvPr id="11" name="Freihandform: Form 10" descr="Logo von WhatsApp.">
            <a:extLst>
              <a:ext uri="{FF2B5EF4-FFF2-40B4-BE49-F238E27FC236}">
                <a16:creationId xmlns:a16="http://schemas.microsoft.com/office/drawing/2014/main" id="{8AC6137B-C8DE-EA2E-80A5-E358C21DE18F}"/>
              </a:ext>
            </a:extLst>
          </p:cNvPr>
          <p:cNvSpPr>
            <a:spLocks/>
          </p:cNvSpPr>
          <p:nvPr/>
        </p:nvSpPr>
        <p:spPr bwMode="gray">
          <a:xfrm>
            <a:off x="11503499" y="5734050"/>
            <a:ext cx="157950" cy="157940"/>
          </a:xfrm>
          <a:custGeom>
            <a:avLst/>
            <a:gdLst>
              <a:gd name="connsiteX0" fmla="*/ 79882 w 199043"/>
              <a:gd name="connsiteY0" fmla="*/ 64498 h 199030"/>
              <a:gd name="connsiteX1" fmla="*/ 68427 w 199043"/>
              <a:gd name="connsiteY1" fmla="*/ 73992 h 199030"/>
              <a:gd name="connsiteX2" fmla="*/ 86227 w 199043"/>
              <a:gd name="connsiteY2" fmla="*/ 115582 h 199030"/>
              <a:gd name="connsiteX3" fmla="*/ 114283 w 199043"/>
              <a:gd name="connsiteY3" fmla="*/ 130977 h 199030"/>
              <a:gd name="connsiteX4" fmla="*/ 129430 w 199043"/>
              <a:gd name="connsiteY4" fmla="*/ 128982 h 199030"/>
              <a:gd name="connsiteX5" fmla="*/ 129428 w 199043"/>
              <a:gd name="connsiteY5" fmla="*/ 128985 h 199030"/>
              <a:gd name="connsiteX6" fmla="*/ 129437 w 199043"/>
              <a:gd name="connsiteY6" fmla="*/ 128981 h 199030"/>
              <a:gd name="connsiteX7" fmla="*/ 129430 w 199043"/>
              <a:gd name="connsiteY7" fmla="*/ 128982 h 199030"/>
              <a:gd name="connsiteX8" fmla="*/ 137688 w 199043"/>
              <a:gd name="connsiteY8" fmla="*/ 116612 h 199030"/>
              <a:gd name="connsiteX9" fmla="*/ 134156 w 199043"/>
              <a:gd name="connsiteY9" fmla="*/ 112151 h 199030"/>
              <a:gd name="connsiteX10" fmla="*/ 119582 w 199043"/>
              <a:gd name="connsiteY10" fmla="*/ 107069 h 199030"/>
              <a:gd name="connsiteX11" fmla="*/ 115498 w 199043"/>
              <a:gd name="connsiteY11" fmla="*/ 108072 h 199030"/>
              <a:gd name="connsiteX12" fmla="*/ 114091 w 199043"/>
              <a:gd name="connsiteY12" fmla="*/ 109571 h 199030"/>
              <a:gd name="connsiteX13" fmla="*/ 104994 w 199043"/>
              <a:gd name="connsiteY13" fmla="*/ 112050 h 199030"/>
              <a:gd name="connsiteX14" fmla="*/ 94864 w 199043"/>
              <a:gd name="connsiteY14" fmla="*/ 106004 h 199030"/>
              <a:gd name="connsiteX15" fmla="*/ 87800 w 199043"/>
              <a:gd name="connsiteY15" fmla="*/ 96553 h 199030"/>
              <a:gd name="connsiteX16" fmla="*/ 89324 w 199043"/>
              <a:gd name="connsiteY16" fmla="*/ 87246 h 199030"/>
              <a:gd name="connsiteX17" fmla="*/ 90670 w 199043"/>
              <a:gd name="connsiteY17" fmla="*/ 85691 h 199030"/>
              <a:gd name="connsiteX18" fmla="*/ 91249 w 199043"/>
              <a:gd name="connsiteY18" fmla="*/ 81524 h 199030"/>
              <a:gd name="connsiteX19" fmla="*/ 84684 w 199043"/>
              <a:gd name="connsiteY19" fmla="*/ 67551 h 199030"/>
              <a:gd name="connsiteX20" fmla="*/ 79882 w 199043"/>
              <a:gd name="connsiteY20" fmla="*/ 64498 h 199030"/>
              <a:gd name="connsiteX21" fmla="*/ 102006 w 199043"/>
              <a:gd name="connsiteY21" fmla="*/ 38523 h 199030"/>
              <a:gd name="connsiteX22" fmla="*/ 102010 w 199043"/>
              <a:gd name="connsiteY22" fmla="*/ 38523 h 199030"/>
              <a:gd name="connsiteX23" fmla="*/ 160895 w 199043"/>
              <a:gd name="connsiteY23" fmla="*/ 97403 h 199030"/>
              <a:gd name="connsiteX24" fmla="*/ 102010 w 199043"/>
              <a:gd name="connsiteY24" fmla="*/ 156283 h 199030"/>
              <a:gd name="connsiteX25" fmla="*/ 70049 w 199043"/>
              <a:gd name="connsiteY25" fmla="*/ 146862 h 199030"/>
              <a:gd name="connsiteX26" fmla="*/ 47508 w 199043"/>
              <a:gd name="connsiteY26" fmla="*/ 152830 h 199030"/>
              <a:gd name="connsiteX27" fmla="*/ 53814 w 199043"/>
              <a:gd name="connsiteY27" fmla="*/ 131242 h 199030"/>
              <a:gd name="connsiteX28" fmla="*/ 43122 w 199043"/>
              <a:gd name="connsiteY28" fmla="*/ 97403 h 199030"/>
              <a:gd name="connsiteX29" fmla="*/ 102006 w 199043"/>
              <a:gd name="connsiteY29" fmla="*/ 38523 h 199030"/>
              <a:gd name="connsiteX30" fmla="*/ 102006 w 199043"/>
              <a:gd name="connsiteY30" fmla="*/ 26185 h 199030"/>
              <a:gd name="connsiteX31" fmla="*/ 30783 w 199043"/>
              <a:gd name="connsiteY31" fmla="*/ 97403 h 199030"/>
              <a:gd name="connsiteX32" fmla="*/ 40458 w 199043"/>
              <a:gd name="connsiteY32" fmla="*/ 133262 h 199030"/>
              <a:gd name="connsiteX33" fmla="*/ 30783 w 199043"/>
              <a:gd name="connsiteY33" fmla="*/ 169652 h 199030"/>
              <a:gd name="connsiteX34" fmla="*/ 68055 w 199043"/>
              <a:gd name="connsiteY34" fmla="*/ 160025 h 199030"/>
              <a:gd name="connsiteX35" fmla="*/ 102006 w 199043"/>
              <a:gd name="connsiteY35" fmla="*/ 168622 h 199030"/>
              <a:gd name="connsiteX36" fmla="*/ 173229 w 199043"/>
              <a:gd name="connsiteY36" fmla="*/ 97403 h 199030"/>
              <a:gd name="connsiteX37" fmla="*/ 102006 w 199043"/>
              <a:gd name="connsiteY37" fmla="*/ 26185 h 199030"/>
              <a:gd name="connsiteX38" fmla="*/ 46256 w 199043"/>
              <a:gd name="connsiteY38" fmla="*/ 0 h 199030"/>
              <a:gd name="connsiteX39" fmla="*/ 152788 w 199043"/>
              <a:gd name="connsiteY39" fmla="*/ 0 h 199030"/>
              <a:gd name="connsiteX40" fmla="*/ 199043 w 199043"/>
              <a:gd name="connsiteY40" fmla="*/ 46252 h 199030"/>
              <a:gd name="connsiteX41" fmla="*/ 199043 w 199043"/>
              <a:gd name="connsiteY41" fmla="*/ 152778 h 199030"/>
              <a:gd name="connsiteX42" fmla="*/ 152788 w 199043"/>
              <a:gd name="connsiteY42" fmla="*/ 199030 h 199030"/>
              <a:gd name="connsiteX43" fmla="*/ 46256 w 199043"/>
              <a:gd name="connsiteY43" fmla="*/ 199030 h 199030"/>
              <a:gd name="connsiteX44" fmla="*/ 0 w 199043"/>
              <a:gd name="connsiteY44" fmla="*/ 152778 h 199030"/>
              <a:gd name="connsiteX45" fmla="*/ 0 w 199043"/>
              <a:gd name="connsiteY45" fmla="*/ 46252 h 199030"/>
              <a:gd name="connsiteX46" fmla="*/ 46256 w 199043"/>
              <a:gd name="connsiteY46" fmla="*/ 0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9043" h="199030">
                <a:moveTo>
                  <a:pt x="79882" y="64498"/>
                </a:moveTo>
                <a:cubicBezTo>
                  <a:pt x="75215" y="64493"/>
                  <a:pt x="70614" y="68309"/>
                  <a:pt x="68427" y="73992"/>
                </a:cubicBezTo>
                <a:cubicBezTo>
                  <a:pt x="66237" y="79697"/>
                  <a:pt x="63577" y="95168"/>
                  <a:pt x="86227" y="115582"/>
                </a:cubicBezTo>
                <a:cubicBezTo>
                  <a:pt x="97552" y="125789"/>
                  <a:pt x="106993" y="129832"/>
                  <a:pt x="114283" y="130977"/>
                </a:cubicBezTo>
                <a:lnTo>
                  <a:pt x="129430" y="128982"/>
                </a:lnTo>
                <a:lnTo>
                  <a:pt x="129428" y="128985"/>
                </a:lnTo>
                <a:lnTo>
                  <a:pt x="129437" y="128981"/>
                </a:lnTo>
                <a:lnTo>
                  <a:pt x="129430" y="128982"/>
                </a:lnTo>
                <a:lnTo>
                  <a:pt x="137688" y="116612"/>
                </a:lnTo>
                <a:cubicBezTo>
                  <a:pt x="137477" y="114566"/>
                  <a:pt x="136097" y="112830"/>
                  <a:pt x="134156" y="112151"/>
                </a:cubicBezTo>
                <a:lnTo>
                  <a:pt x="119582" y="107069"/>
                </a:lnTo>
                <a:cubicBezTo>
                  <a:pt x="118140" y="106565"/>
                  <a:pt x="116541" y="106959"/>
                  <a:pt x="115498" y="108072"/>
                </a:cubicBezTo>
                <a:lnTo>
                  <a:pt x="114091" y="109571"/>
                </a:lnTo>
                <a:cubicBezTo>
                  <a:pt x="111769" y="112042"/>
                  <a:pt x="108241" y="113032"/>
                  <a:pt x="104994" y="112050"/>
                </a:cubicBezTo>
                <a:cubicBezTo>
                  <a:pt x="102194" y="111205"/>
                  <a:pt x="98715" y="109474"/>
                  <a:pt x="94864" y="106004"/>
                </a:cubicBezTo>
                <a:cubicBezTo>
                  <a:pt x="91012" y="102534"/>
                  <a:pt x="88931" y="99252"/>
                  <a:pt x="87800" y="96553"/>
                </a:cubicBezTo>
                <a:cubicBezTo>
                  <a:pt x="86489" y="93420"/>
                  <a:pt x="87108" y="89814"/>
                  <a:pt x="89324" y="87246"/>
                </a:cubicBezTo>
                <a:lnTo>
                  <a:pt x="90670" y="85691"/>
                </a:lnTo>
                <a:cubicBezTo>
                  <a:pt x="91669" y="84538"/>
                  <a:pt x="91897" y="82904"/>
                  <a:pt x="91249" y="81524"/>
                </a:cubicBezTo>
                <a:lnTo>
                  <a:pt x="84684" y="67551"/>
                </a:lnTo>
                <a:cubicBezTo>
                  <a:pt x="83812" y="65689"/>
                  <a:pt x="81941" y="64498"/>
                  <a:pt x="79882" y="64498"/>
                </a:cubicBezTo>
                <a:close/>
                <a:moveTo>
                  <a:pt x="102006" y="38523"/>
                </a:moveTo>
                <a:lnTo>
                  <a:pt x="102010" y="38523"/>
                </a:lnTo>
                <a:cubicBezTo>
                  <a:pt x="134533" y="38523"/>
                  <a:pt x="160895" y="64883"/>
                  <a:pt x="160895" y="97403"/>
                </a:cubicBezTo>
                <a:cubicBezTo>
                  <a:pt x="160895" y="129923"/>
                  <a:pt x="134533" y="156283"/>
                  <a:pt x="102010" y="156283"/>
                </a:cubicBezTo>
                <a:cubicBezTo>
                  <a:pt x="90228" y="156283"/>
                  <a:pt x="79255" y="152821"/>
                  <a:pt x="70049" y="146862"/>
                </a:cubicBezTo>
                <a:lnTo>
                  <a:pt x="47508" y="152830"/>
                </a:lnTo>
                <a:lnTo>
                  <a:pt x="53814" y="131242"/>
                </a:lnTo>
                <a:cubicBezTo>
                  <a:pt x="47079" y="121669"/>
                  <a:pt x="43122" y="110000"/>
                  <a:pt x="43122" y="97403"/>
                </a:cubicBezTo>
                <a:cubicBezTo>
                  <a:pt x="43122" y="64883"/>
                  <a:pt x="69484" y="38523"/>
                  <a:pt x="102006" y="38523"/>
                </a:cubicBezTo>
                <a:close/>
                <a:moveTo>
                  <a:pt x="102006" y="26185"/>
                </a:moveTo>
                <a:cubicBezTo>
                  <a:pt x="62670" y="26185"/>
                  <a:pt x="30783" y="58069"/>
                  <a:pt x="30783" y="97403"/>
                </a:cubicBezTo>
                <a:cubicBezTo>
                  <a:pt x="30783" y="110478"/>
                  <a:pt x="34310" y="122729"/>
                  <a:pt x="40458" y="133262"/>
                </a:cubicBezTo>
                <a:lnTo>
                  <a:pt x="30783" y="169652"/>
                </a:lnTo>
                <a:lnTo>
                  <a:pt x="68055" y="160025"/>
                </a:lnTo>
                <a:cubicBezTo>
                  <a:pt x="78151" y="165506"/>
                  <a:pt x="89715" y="168622"/>
                  <a:pt x="102006" y="168622"/>
                </a:cubicBezTo>
                <a:cubicBezTo>
                  <a:pt x="141342" y="168622"/>
                  <a:pt x="173229" y="136737"/>
                  <a:pt x="173229" y="97403"/>
                </a:cubicBezTo>
                <a:cubicBezTo>
                  <a:pt x="173229" y="58069"/>
                  <a:pt x="141342" y="26185"/>
                  <a:pt x="102006" y="26185"/>
                </a:cubicBezTo>
                <a:close/>
                <a:moveTo>
                  <a:pt x="46256" y="0"/>
                </a:moveTo>
                <a:lnTo>
                  <a:pt x="152788" y="0"/>
                </a:lnTo>
                <a:cubicBezTo>
                  <a:pt x="178334" y="0"/>
                  <a:pt x="199043" y="20707"/>
                  <a:pt x="199043" y="46252"/>
                </a:cubicBezTo>
                <a:lnTo>
                  <a:pt x="199043" y="152778"/>
                </a:lnTo>
                <a:cubicBezTo>
                  <a:pt x="199043" y="178323"/>
                  <a:pt x="178334" y="199030"/>
                  <a:pt x="152788" y="199030"/>
                </a:cubicBezTo>
                <a:lnTo>
                  <a:pt x="46256" y="199030"/>
                </a:lnTo>
                <a:cubicBezTo>
                  <a:pt x="20709" y="199030"/>
                  <a:pt x="0" y="178323"/>
                  <a:pt x="0" y="152778"/>
                </a:cubicBezTo>
                <a:lnTo>
                  <a:pt x="0" y="46252"/>
                </a:lnTo>
                <a:cubicBezTo>
                  <a:pt x="0" y="20707"/>
                  <a:pt x="20709" y="0"/>
                  <a:pt x="46256" y="0"/>
                </a:cubicBezTo>
                <a:close/>
              </a:path>
            </a:pathLst>
          </a:custGeom>
          <a:solidFill>
            <a:schemeClr val="accent1"/>
          </a:solidFill>
          <a:ln w="122" cap="flat">
            <a:noFill/>
            <a:prstDash val="solid"/>
            <a:miter/>
          </a:ln>
        </p:spPr>
        <p:txBody>
          <a:bodyPr rtlCol="0" anchor="ctr"/>
          <a:lstStyle/>
          <a:p>
            <a:endParaRPr lang="de-DE"/>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noAutofit/>
          </a:bodyPr>
          <a:lstStyle>
            <a:lvl1pPr rtl="0">
              <a:defRPr>
                <a:solidFill>
                  <a:schemeClr val="tx1"/>
                </a:solidFill>
              </a:defRPr>
            </a:lvl1pPr>
          </a:lstStyle>
          <a:p>
            <a:endParaRPr lang="en-US"/>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noAutofit/>
          </a:bodyPr>
          <a:lstStyle>
            <a:lvl1pPr rtl="0">
              <a:defRPr>
                <a:solidFill>
                  <a:schemeClr val="tx1"/>
                </a:solidFill>
              </a:defRPr>
            </a:lvl1pPr>
          </a:lstStyle>
          <a:p>
            <a:fld id="{C7D046C8-03B9-4997-9490-81EAE2ED7C49}" type="slidenum">
              <a:rPr lang="en-US" smtClean="0"/>
              <a:t>‹Nr.›</a:t>
            </a:fld>
            <a:endParaRPr lang="en-US"/>
          </a:p>
        </p:txBody>
      </p:sp>
    </p:spTree>
    <p:extLst>
      <p:ext uri="{BB962C8B-B14F-4D97-AF65-F5344CB8AC3E}">
        <p14:creationId xmlns:p14="http://schemas.microsoft.com/office/powerpoint/2010/main" val="2462823739"/>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chlussfolie">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557C6E-E0BD-90A0-C797-59F42268DEF3}"/>
              </a:ext>
            </a:extLst>
          </p:cNvPr>
          <p:cNvGraphicFramePr>
            <a:graphicFrameLocks noChangeAspect="1"/>
          </p:cNvGraphicFramePr>
          <p:nvPr>
            <p:custDataLst>
              <p:tags r:id="rId1"/>
            </p:custDataLst>
            <p:extLst>
              <p:ext uri="{D42A27DB-BD31-4B8C-83A1-F6EECF244321}">
                <p14:modId xmlns:p14="http://schemas.microsoft.com/office/powerpoint/2010/main" val="1510059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43557C6E-E0BD-90A0-C797-59F42268DE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descr="Bild füllt 1/3 der Folie aus, rechts daneben eine Textbox mit Verabschiedung. Das Bild ist änderbar">
            <a:extLst>
              <a:ext uri="{FF2B5EF4-FFF2-40B4-BE49-F238E27FC236}">
                <a16:creationId xmlns:a16="http://schemas.microsoft.com/office/drawing/2014/main" id="{8A0BDE57-5FB6-EBC0-0A2B-8FC1EBF53F23}"/>
              </a:ext>
            </a:extLst>
          </p:cNvPr>
          <p:cNvSpPr>
            <a:spLocks noGrp="1"/>
          </p:cNvSpPr>
          <p:nvPr>
            <p:ph type="pic" sz="quarter" idx="10"/>
          </p:nvPr>
        </p:nvSpPr>
        <p:spPr bwMode="gray">
          <a:xfrm>
            <a:off x="0" y="0"/>
            <a:ext cx="4732016" cy="6858000"/>
          </a:xfrm>
          <a:custGeom>
            <a:avLst/>
            <a:gdLst>
              <a:gd name="connsiteX0" fmla="*/ 4731108 w 4732016"/>
              <a:gd name="connsiteY0" fmla="*/ 2672511 h 6858000"/>
              <a:gd name="connsiteX1" fmla="*/ 4732016 w 4732016"/>
              <a:gd name="connsiteY1" fmla="*/ 2672557 h 6858000"/>
              <a:gd name="connsiteX2" fmla="*/ 4732016 w 4732016"/>
              <a:gd name="connsiteY2" fmla="*/ 5415665 h 6858000"/>
              <a:gd name="connsiteX3" fmla="*/ 4731108 w 4732016"/>
              <a:gd name="connsiteY3" fmla="*/ 5415711 h 6858000"/>
              <a:gd name="connsiteX4" fmla="*/ 3359508 w 4732016"/>
              <a:gd name="connsiteY4" fmla="*/ 4044111 h 6858000"/>
              <a:gd name="connsiteX5" fmla="*/ 4731108 w 4732016"/>
              <a:gd name="connsiteY5" fmla="*/ 2672511 h 6858000"/>
              <a:gd name="connsiteX6" fmla="*/ 0 w 4732016"/>
              <a:gd name="connsiteY6" fmla="*/ 0 h 6858000"/>
              <a:gd name="connsiteX7" fmla="*/ 4732016 w 4732016"/>
              <a:gd name="connsiteY7" fmla="*/ 0 h 6858000"/>
              <a:gd name="connsiteX8" fmla="*/ 4732016 w 4732016"/>
              <a:gd name="connsiteY8" fmla="*/ 2595445 h 6858000"/>
              <a:gd name="connsiteX9" fmla="*/ 4731108 w 4732016"/>
              <a:gd name="connsiteY9" fmla="*/ 2595399 h 6858000"/>
              <a:gd name="connsiteX10" fmla="*/ 3282396 w 4732016"/>
              <a:gd name="connsiteY10" fmla="*/ 4044111 h 6858000"/>
              <a:gd name="connsiteX11" fmla="*/ 4731108 w 4732016"/>
              <a:gd name="connsiteY11" fmla="*/ 5492823 h 6858000"/>
              <a:gd name="connsiteX12" fmla="*/ 4732016 w 4732016"/>
              <a:gd name="connsiteY12" fmla="*/ 5492777 h 6858000"/>
              <a:gd name="connsiteX13" fmla="*/ 4732016 w 4732016"/>
              <a:gd name="connsiteY13" fmla="*/ 6858000 h 6858000"/>
              <a:gd name="connsiteX14" fmla="*/ 0 w 4732016"/>
              <a:gd name="connsiteY1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32016" h="6858000">
                <a:moveTo>
                  <a:pt x="4731108" y="2672511"/>
                </a:moveTo>
                <a:lnTo>
                  <a:pt x="4732016" y="2672557"/>
                </a:lnTo>
                <a:lnTo>
                  <a:pt x="4732016" y="5415665"/>
                </a:lnTo>
                <a:lnTo>
                  <a:pt x="4731108" y="5415711"/>
                </a:lnTo>
                <a:cubicBezTo>
                  <a:pt x="3973594" y="5415711"/>
                  <a:pt x="3359508" y="4801625"/>
                  <a:pt x="3359508" y="4044111"/>
                </a:cubicBezTo>
                <a:cubicBezTo>
                  <a:pt x="3359508" y="3286597"/>
                  <a:pt x="3973594" y="2672511"/>
                  <a:pt x="4731108" y="2672511"/>
                </a:cubicBezTo>
                <a:close/>
                <a:moveTo>
                  <a:pt x="0" y="0"/>
                </a:moveTo>
                <a:lnTo>
                  <a:pt x="4732016" y="0"/>
                </a:lnTo>
                <a:lnTo>
                  <a:pt x="4732016" y="2595445"/>
                </a:lnTo>
                <a:lnTo>
                  <a:pt x="4731108" y="2595399"/>
                </a:lnTo>
                <a:cubicBezTo>
                  <a:pt x="3931006" y="2595399"/>
                  <a:pt x="3282396" y="3244009"/>
                  <a:pt x="3282396" y="4044111"/>
                </a:cubicBezTo>
                <a:cubicBezTo>
                  <a:pt x="3282396" y="4844213"/>
                  <a:pt x="3931006" y="5492823"/>
                  <a:pt x="4731108" y="5492823"/>
                </a:cubicBezTo>
                <a:lnTo>
                  <a:pt x="4732016" y="5492777"/>
                </a:lnTo>
                <a:lnTo>
                  <a:pt x="4732016" y="6858000"/>
                </a:lnTo>
                <a:lnTo>
                  <a:pt x="0" y="6858000"/>
                </a:lnTo>
                <a:close/>
              </a:path>
            </a:pathLst>
          </a:custGeom>
          <a:solidFill>
            <a:schemeClr val="bg2"/>
          </a:solidFill>
        </p:spPr>
        <p:txBody>
          <a:bodyPr wrap="square">
            <a:noAutofit/>
          </a:bodyPr>
          <a:lstStyle>
            <a:lvl1pPr>
              <a:defRPr/>
            </a:lvl1pPr>
          </a:lstStyle>
          <a:p>
            <a:r>
              <a:rPr lang="de-DE"/>
              <a:t>Bild durch Klicken auf Symbol hinzufügen</a:t>
            </a:r>
          </a:p>
        </p:txBody>
      </p:sp>
      <p:sp>
        <p:nvSpPr>
          <p:cNvPr id="2" name="Titel 1">
            <a:extLst>
              <a:ext uri="{FF2B5EF4-FFF2-40B4-BE49-F238E27FC236}">
                <a16:creationId xmlns:a16="http://schemas.microsoft.com/office/drawing/2014/main" id="{F411F345-D99E-DC01-54AD-CFF488F1540D}"/>
              </a:ext>
            </a:extLst>
          </p:cNvPr>
          <p:cNvSpPr>
            <a:spLocks noGrp="1"/>
          </p:cNvSpPr>
          <p:nvPr>
            <p:ph type="title" hasCustomPrompt="1"/>
          </p:nvPr>
        </p:nvSpPr>
        <p:spPr bwMode="gray">
          <a:xfrm>
            <a:off x="5171444" y="2637155"/>
            <a:ext cx="5389027" cy="1079886"/>
          </a:xfrm>
        </p:spPr>
        <p:txBody>
          <a:bodyPr vert="horz" anchor="b">
            <a:noAutofit/>
          </a:bodyPr>
          <a:lstStyle>
            <a:lvl1pPr rtl="0">
              <a:defRPr sz="7200">
                <a:solidFill>
                  <a:schemeClr val="accent1"/>
                </a:solidFill>
              </a:defRPr>
            </a:lvl1pPr>
          </a:lstStyle>
          <a:p>
            <a:r>
              <a:rPr lang="de-DE" dirty="0"/>
              <a:t>Vielen Dank</a:t>
            </a:r>
          </a:p>
        </p:txBody>
      </p:sp>
      <p:pic>
        <p:nvPicPr>
          <p:cNvPr id="4" name="Grafik 3">
            <a:extLst>
              <a:ext uri="{FF2B5EF4-FFF2-40B4-BE49-F238E27FC236}">
                <a16:creationId xmlns:a16="http://schemas.microsoft.com/office/drawing/2014/main" id="{E61D11C2-59E6-B47D-9725-493B567FE06E}"/>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sp>
        <p:nvSpPr>
          <p:cNvPr id="13" name="Freihandform: Form 12">
            <a:extLst>
              <a:ext uri="{FF2B5EF4-FFF2-40B4-BE49-F238E27FC236}">
                <a16:creationId xmlns:a16="http://schemas.microsoft.com/office/drawing/2014/main" id="{C853E75E-DDB2-41C0-26F3-9A404FCBC4BC}"/>
              </a:ext>
              <a:ext uri="{C183D7F6-B498-43B3-948B-1728B52AA6E4}">
                <adec:decorative xmlns:adec="http://schemas.microsoft.com/office/drawing/2017/decorative" val="1"/>
              </a:ext>
            </a:extLst>
          </p:cNvPr>
          <p:cNvSpPr>
            <a:spLocks/>
          </p:cNvSpPr>
          <p:nvPr/>
        </p:nvSpPr>
        <p:spPr bwMode="gray">
          <a:xfrm>
            <a:off x="4732016" y="4038601"/>
            <a:ext cx="1447804" cy="1454177"/>
          </a:xfrm>
          <a:custGeom>
            <a:avLst/>
            <a:gdLst>
              <a:gd name="connsiteX0" fmla="*/ 1370414 w 1447804"/>
              <a:gd name="connsiteY0" fmla="*/ 0 h 1454177"/>
              <a:gd name="connsiteX1" fmla="*/ 1447526 w 1447804"/>
              <a:gd name="connsiteY1" fmla="*/ 0 h 1454177"/>
              <a:gd name="connsiteX2" fmla="*/ 1447804 w 1447804"/>
              <a:gd name="connsiteY2" fmla="*/ 5511 h 1454177"/>
              <a:gd name="connsiteX3" fmla="*/ 147215 w 1447804"/>
              <a:gd name="connsiteY3" fmla="*/ 1446744 h 1454177"/>
              <a:gd name="connsiteX4" fmla="*/ 0 w 1447804"/>
              <a:gd name="connsiteY4" fmla="*/ 1454177 h 1454177"/>
              <a:gd name="connsiteX5" fmla="*/ 0 w 1447804"/>
              <a:gd name="connsiteY5" fmla="*/ 1377065 h 1454177"/>
              <a:gd name="connsiteX6" fmla="*/ 139330 w 1447804"/>
              <a:gd name="connsiteY6" fmla="*/ 1370030 h 1454177"/>
              <a:gd name="connsiteX7" fmla="*/ 1370692 w 1447804"/>
              <a:gd name="connsiteY7" fmla="*/ 5511 h 1454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804" h="1454177">
                <a:moveTo>
                  <a:pt x="1370414" y="0"/>
                </a:moveTo>
                <a:lnTo>
                  <a:pt x="1447526" y="0"/>
                </a:lnTo>
                <a:lnTo>
                  <a:pt x="1447804" y="5511"/>
                </a:lnTo>
                <a:cubicBezTo>
                  <a:pt x="1447804" y="755607"/>
                  <a:pt x="877737" y="1372555"/>
                  <a:pt x="147215" y="1446744"/>
                </a:cubicBezTo>
                <a:lnTo>
                  <a:pt x="0" y="1454177"/>
                </a:lnTo>
                <a:lnTo>
                  <a:pt x="0" y="1377065"/>
                </a:lnTo>
                <a:lnTo>
                  <a:pt x="139330" y="1370030"/>
                </a:lnTo>
                <a:cubicBezTo>
                  <a:pt x="830968" y="1299790"/>
                  <a:pt x="1370692" y="715681"/>
                  <a:pt x="1370692" y="551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grpSp>
        <p:nvGrpSpPr>
          <p:cNvPr id="23" name="Gruppieren 22">
            <a:extLst>
              <a:ext uri="{FF2B5EF4-FFF2-40B4-BE49-F238E27FC236}">
                <a16:creationId xmlns:a16="http://schemas.microsoft.com/office/drawing/2014/main" id="{DC4E1B5C-FA2B-A25F-98F2-EAB6D242AB0D}"/>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24" name="Gerader Verbinder 23">
              <a:extLst>
                <a:ext uri="{FF2B5EF4-FFF2-40B4-BE49-F238E27FC236}">
                  <a16:creationId xmlns:a16="http://schemas.microsoft.com/office/drawing/2014/main" id="{8700D640-C026-81DF-9BEC-4AA2A2CA6FC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95EB4F89-3FBB-615D-089C-8B9A94D1720B}"/>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4" name="Gruppieren 33">
            <a:extLst>
              <a:ext uri="{FF2B5EF4-FFF2-40B4-BE49-F238E27FC236}">
                <a16:creationId xmlns:a16="http://schemas.microsoft.com/office/drawing/2014/main" id="{AE1B60D7-E3D7-1291-5C40-0F365A12796A}"/>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35" name="Gerader Verbinder 34">
              <a:extLst>
                <a:ext uri="{FF2B5EF4-FFF2-40B4-BE49-F238E27FC236}">
                  <a16:creationId xmlns:a16="http://schemas.microsoft.com/office/drawing/2014/main" id="{DF51E956-5109-9B37-947A-C66912F3EF71}"/>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6BA94E57-9184-7056-0256-7B938B9F35C8}"/>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55" name="Gruppieren 254">
            <a:extLst>
              <a:ext uri="{FF2B5EF4-FFF2-40B4-BE49-F238E27FC236}">
                <a16:creationId xmlns:a16="http://schemas.microsoft.com/office/drawing/2014/main" id="{3E5391CA-E519-76AB-4391-44D965D46B5B}"/>
              </a:ext>
              <a:ext uri="{C183D7F6-B498-43B3-948B-1728B52AA6E4}">
                <adec:decorative xmlns:adec="http://schemas.microsoft.com/office/drawing/2017/decorative" val="1"/>
              </a:ext>
            </a:extLst>
          </p:cNvPr>
          <p:cNvGrpSpPr/>
          <p:nvPr/>
        </p:nvGrpSpPr>
        <p:grpSpPr bwMode="gray">
          <a:xfrm>
            <a:off x="-254000" y="296863"/>
            <a:ext cx="144000" cy="6300787"/>
            <a:chOff x="0" y="296863"/>
            <a:chExt cx="12192000" cy="6300787"/>
          </a:xfrm>
        </p:grpSpPr>
        <p:cxnSp>
          <p:nvCxnSpPr>
            <p:cNvPr id="256" name="Gerader Verbinder 255">
              <a:extLst>
                <a:ext uri="{FF2B5EF4-FFF2-40B4-BE49-F238E27FC236}">
                  <a16:creationId xmlns:a16="http://schemas.microsoft.com/office/drawing/2014/main" id="{3D5CF162-9356-8961-7485-E975EFEF317A}"/>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7" name="Gerader Verbinder 256">
              <a:extLst>
                <a:ext uri="{FF2B5EF4-FFF2-40B4-BE49-F238E27FC236}">
                  <a16:creationId xmlns:a16="http://schemas.microsoft.com/office/drawing/2014/main" id="{88DE2A7E-3339-A825-6D86-C6FFE468CC17}"/>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8" name="Gerader Verbinder 257">
              <a:extLst>
                <a:ext uri="{FF2B5EF4-FFF2-40B4-BE49-F238E27FC236}">
                  <a16:creationId xmlns:a16="http://schemas.microsoft.com/office/drawing/2014/main" id="{AB1D1473-27B0-133A-72CA-46D22658ED0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9" name="Gerader Verbinder 258">
              <a:extLst>
                <a:ext uri="{FF2B5EF4-FFF2-40B4-BE49-F238E27FC236}">
                  <a16:creationId xmlns:a16="http://schemas.microsoft.com/office/drawing/2014/main" id="{1E940AEB-D178-02FF-70E9-E501265D193A}"/>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0" name="Gerader Verbinder 259">
              <a:extLst>
                <a:ext uri="{FF2B5EF4-FFF2-40B4-BE49-F238E27FC236}">
                  <a16:creationId xmlns:a16="http://schemas.microsoft.com/office/drawing/2014/main" id="{B58477F6-72E0-6D73-AA37-159DBC36BE8C}"/>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1" name="Gerader Verbinder 260">
              <a:extLst>
                <a:ext uri="{FF2B5EF4-FFF2-40B4-BE49-F238E27FC236}">
                  <a16:creationId xmlns:a16="http://schemas.microsoft.com/office/drawing/2014/main" id="{75810A12-D3BD-DCE6-076A-E96EEA6ABF0D}"/>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2" name="Gerader Verbinder 261">
              <a:extLst>
                <a:ext uri="{FF2B5EF4-FFF2-40B4-BE49-F238E27FC236}">
                  <a16:creationId xmlns:a16="http://schemas.microsoft.com/office/drawing/2014/main" id="{F2B0E949-A9CB-7365-01C9-8A6DF67AE2A9}"/>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3" name="Gruppieren 262">
            <a:extLst>
              <a:ext uri="{FF2B5EF4-FFF2-40B4-BE49-F238E27FC236}">
                <a16:creationId xmlns:a16="http://schemas.microsoft.com/office/drawing/2014/main" id="{E1AA2A90-B7AD-39FC-9421-FCB18C79E3C1}"/>
              </a:ext>
              <a:ext uri="{C183D7F6-B498-43B3-948B-1728B52AA6E4}">
                <adec:decorative xmlns:adec="http://schemas.microsoft.com/office/drawing/2017/decorative" val="1"/>
              </a:ext>
            </a:extLst>
          </p:cNvPr>
          <p:cNvGrpSpPr/>
          <p:nvPr/>
        </p:nvGrpSpPr>
        <p:grpSpPr bwMode="gray">
          <a:xfrm>
            <a:off x="12301940" y="296863"/>
            <a:ext cx="144000" cy="6300787"/>
            <a:chOff x="0" y="296863"/>
            <a:chExt cx="12192000" cy="6300787"/>
          </a:xfrm>
        </p:grpSpPr>
        <p:cxnSp>
          <p:nvCxnSpPr>
            <p:cNvPr id="264" name="Gerader Verbinder 263">
              <a:extLst>
                <a:ext uri="{FF2B5EF4-FFF2-40B4-BE49-F238E27FC236}">
                  <a16:creationId xmlns:a16="http://schemas.microsoft.com/office/drawing/2014/main" id="{EC992BC4-1D1C-C6AC-E564-8E8883B6885C}"/>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5" name="Gerader Verbinder 264">
              <a:extLst>
                <a:ext uri="{FF2B5EF4-FFF2-40B4-BE49-F238E27FC236}">
                  <a16:creationId xmlns:a16="http://schemas.microsoft.com/office/drawing/2014/main" id="{3095DD07-ED94-455A-D0E9-239953177587}"/>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6" name="Gerader Verbinder 265">
              <a:extLst>
                <a:ext uri="{FF2B5EF4-FFF2-40B4-BE49-F238E27FC236}">
                  <a16:creationId xmlns:a16="http://schemas.microsoft.com/office/drawing/2014/main" id="{63CA2019-0C1D-3FD4-01EB-B40A418427AA}"/>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7" name="Gerader Verbinder 266">
              <a:extLst>
                <a:ext uri="{FF2B5EF4-FFF2-40B4-BE49-F238E27FC236}">
                  <a16:creationId xmlns:a16="http://schemas.microsoft.com/office/drawing/2014/main" id="{2CB73853-CAF7-7DB3-6F1E-91C21531047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8" name="Gerader Verbinder 267">
              <a:extLst>
                <a:ext uri="{FF2B5EF4-FFF2-40B4-BE49-F238E27FC236}">
                  <a16:creationId xmlns:a16="http://schemas.microsoft.com/office/drawing/2014/main" id="{0A0325C9-46EF-914F-E083-4986A9A05F02}"/>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9" name="Gerader Verbinder 268">
              <a:extLst>
                <a:ext uri="{FF2B5EF4-FFF2-40B4-BE49-F238E27FC236}">
                  <a16:creationId xmlns:a16="http://schemas.microsoft.com/office/drawing/2014/main" id="{8689EBEB-57E4-6EE7-1089-1CD41EB9B67E}"/>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70" name="Gerader Verbinder 269">
              <a:extLst>
                <a:ext uri="{FF2B5EF4-FFF2-40B4-BE49-F238E27FC236}">
                  <a16:creationId xmlns:a16="http://schemas.microsoft.com/office/drawing/2014/main" id="{968F8860-7501-5AA5-FE12-BEA00350C92E}"/>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50846662"/>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Inhaltsfolie">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C41F1840-D1EB-40B1-96CC-BBA80AAAA494}"/>
              </a:ext>
            </a:extLst>
          </p:cNvPr>
          <p:cNvSpPr>
            <a:spLocks noGrp="1"/>
          </p:cNvSpPr>
          <p:nvPr>
            <p:ph idx="1"/>
          </p:nvPr>
        </p:nvSpPr>
        <p:spPr>
          <a:xfrm>
            <a:off x="841375" y="1847675"/>
            <a:ext cx="10510838" cy="4461050"/>
          </a:xfrm>
        </p:spPr>
        <p:txBody>
          <a:bodyPr/>
          <a:lstStyle>
            <a:lvl2pPr>
              <a:defRPr/>
            </a:lvl2pPr>
            <a:lvl3pPr>
              <a:defRPr/>
            </a:lvl3pPr>
          </a:lstStyle>
          <a:p>
            <a:pPr lvl="0"/>
            <a:r>
              <a:rPr lang="de-DE"/>
              <a:t>Mastertextformat bearbeiten</a:t>
            </a:r>
          </a:p>
          <a:p>
            <a:pPr lvl="1"/>
            <a:r>
              <a:rPr lang="de-DE"/>
              <a:t>Zweite Ebene</a:t>
            </a:r>
          </a:p>
          <a:p>
            <a:pPr lvl="2"/>
            <a:r>
              <a:rPr lang="de-DE"/>
              <a:t>Dritte Ebene</a:t>
            </a:r>
          </a:p>
        </p:txBody>
      </p:sp>
      <p:sp>
        <p:nvSpPr>
          <p:cNvPr id="5" name="Fußzeilenplatzhalter 4">
            <a:extLst>
              <a:ext uri="{FF2B5EF4-FFF2-40B4-BE49-F238E27FC236}">
                <a16:creationId xmlns:a16="http://schemas.microsoft.com/office/drawing/2014/main" id="{8BF0B54F-2072-4CD1-B810-4CD894788B39}"/>
              </a:ext>
            </a:extLst>
          </p:cNvPr>
          <p:cNvSpPr>
            <a:spLocks noGrp="1"/>
          </p:cNvSpPr>
          <p:nvPr>
            <p:ph type="ftr" sz="quarter" idx="11"/>
          </p:nvPr>
        </p:nvSpPr>
        <p:spPr/>
        <p:txBody>
          <a:bodyPr/>
          <a:lstStyle/>
          <a:p>
            <a:r>
              <a:rPr lang="de-DE" dirty="0"/>
              <a:t>© msg systems ag | 2024 | UX Templates</a:t>
            </a:r>
          </a:p>
        </p:txBody>
      </p:sp>
      <p:sp>
        <p:nvSpPr>
          <p:cNvPr id="6" name="Foliennummernplatzhalter 5">
            <a:extLst>
              <a:ext uri="{FF2B5EF4-FFF2-40B4-BE49-F238E27FC236}">
                <a16:creationId xmlns:a16="http://schemas.microsoft.com/office/drawing/2014/main" id="{5D2A1C4D-F8D7-43D1-8609-E81C05FD9B0C}"/>
              </a:ext>
            </a:extLst>
          </p:cNvPr>
          <p:cNvSpPr>
            <a:spLocks noGrp="1"/>
          </p:cNvSpPr>
          <p:nvPr>
            <p:ph type="sldNum" sz="quarter" idx="12"/>
          </p:nvPr>
        </p:nvSpPr>
        <p:spPr/>
        <p:txBody>
          <a:bodyPr/>
          <a:lstStyle/>
          <a:p>
            <a:fld id="{B27B0579-4238-4E44-9A9E-134B676F827C}" type="slidenum">
              <a:rPr lang="de-DE" smtClean="0"/>
              <a:t>‹Nr.›</a:t>
            </a:fld>
            <a:endParaRPr lang="de-DE"/>
          </a:p>
        </p:txBody>
      </p:sp>
      <p:sp>
        <p:nvSpPr>
          <p:cNvPr id="4" name="Titel 3">
            <a:extLst>
              <a:ext uri="{FF2B5EF4-FFF2-40B4-BE49-F238E27FC236}">
                <a16:creationId xmlns:a16="http://schemas.microsoft.com/office/drawing/2014/main" id="{B86CDE3B-773E-47EF-B194-C2A6E1E366E9}"/>
              </a:ext>
            </a:extLst>
          </p:cNvPr>
          <p:cNvSpPr>
            <a:spLocks noGrp="1"/>
          </p:cNvSpPr>
          <p:nvPr>
            <p:ph type="title"/>
          </p:nvPr>
        </p:nvSpPr>
        <p:spPr/>
        <p:txBody>
          <a:bodyPr/>
          <a:lstStyle/>
          <a:p>
            <a:r>
              <a:rPr lang="de-DE"/>
              <a:t>Mastertitelformat bearbeiten</a:t>
            </a:r>
            <a:endParaRPr lang="de-DE" dirty="0"/>
          </a:p>
        </p:txBody>
      </p:sp>
      <p:sp>
        <p:nvSpPr>
          <p:cNvPr id="11" name="Textplatzhalter 2">
            <a:extLst>
              <a:ext uri="{FF2B5EF4-FFF2-40B4-BE49-F238E27FC236}">
                <a16:creationId xmlns:a16="http://schemas.microsoft.com/office/drawing/2014/main" id="{5330B51B-4D4E-409D-84CD-D10F6059A9AF}"/>
              </a:ext>
            </a:extLst>
          </p:cNvPr>
          <p:cNvSpPr>
            <a:spLocks noGrp="1"/>
          </p:cNvSpPr>
          <p:nvPr>
            <p:ph type="body" idx="13" hasCustomPrompt="1"/>
          </p:nvPr>
        </p:nvSpPr>
        <p:spPr>
          <a:xfrm>
            <a:off x="841375" y="198000"/>
            <a:ext cx="7480624" cy="216000"/>
          </a:xfrm>
        </p:spPr>
        <p:txBody>
          <a:bodyPr anchor="b"/>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Untertitel bearbeiten</a:t>
            </a:r>
          </a:p>
        </p:txBody>
      </p:sp>
    </p:spTree>
    <p:extLst>
      <p:ext uri="{BB962C8B-B14F-4D97-AF65-F5344CB8AC3E}">
        <p14:creationId xmlns:p14="http://schemas.microsoft.com/office/powerpoint/2010/main" val="1144545214"/>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folie 3">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762123-A025-4D74-4EAD-B98BCC05F347}"/>
              </a:ext>
            </a:extLst>
          </p:cNvPr>
          <p:cNvGraphicFramePr>
            <a:graphicFrameLocks noChangeAspect="1"/>
          </p:cNvGraphicFramePr>
          <p:nvPr>
            <p:custDataLst>
              <p:tags r:id="rId1"/>
            </p:custDataLst>
            <p:extLst>
              <p:ext uri="{D42A27DB-BD31-4B8C-83A1-F6EECF244321}">
                <p14:modId xmlns:p14="http://schemas.microsoft.com/office/powerpoint/2010/main" val="756764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3B762123-A025-4D74-4EAD-B98BCC05F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5" name="Titel 84">
            <a:extLst>
              <a:ext uri="{FF2B5EF4-FFF2-40B4-BE49-F238E27FC236}">
                <a16:creationId xmlns:a16="http://schemas.microsoft.com/office/drawing/2014/main" id="{1C5AFEA5-AB8B-AE9B-F802-98E24FCBE5BF}"/>
              </a:ext>
            </a:extLst>
          </p:cNvPr>
          <p:cNvSpPr>
            <a:spLocks noGrp="1"/>
          </p:cNvSpPr>
          <p:nvPr>
            <p:ph type="ctrTitle"/>
          </p:nvPr>
        </p:nvSpPr>
        <p:spPr bwMode="gray">
          <a:xfrm>
            <a:off x="2146201" y="2211159"/>
            <a:ext cx="8198670" cy="1505863"/>
          </a:xfrm>
          <a:prstGeom prst="rect">
            <a:avLst/>
          </a:prstGeom>
          <a:noFill/>
        </p:spPr>
        <p:txBody>
          <a:bodyPr vert="horz" wrap="square" lIns="0" tIns="0" rIns="0" bIns="0" anchor="t">
            <a:noAutofit/>
          </a:bodyPr>
          <a:lstStyle>
            <a:lvl1pPr algn="l" rtl="0">
              <a:defRPr sz="4800">
                <a:solidFill>
                  <a:schemeClr val="tx1"/>
                </a:solidFill>
                <a:latin typeface="+mn-lt"/>
              </a:defRPr>
            </a:lvl1pPr>
          </a:lstStyle>
          <a:p>
            <a:r>
              <a:rPr lang="de-DE"/>
              <a:t>Mastertitelformat bearbeiten</a:t>
            </a:r>
            <a:endParaRPr lang="de-DE" dirty="0"/>
          </a:p>
        </p:txBody>
      </p:sp>
      <p:sp>
        <p:nvSpPr>
          <p:cNvPr id="28" name="Textplatzhalter 27">
            <a:extLst>
              <a:ext uri="{FF2B5EF4-FFF2-40B4-BE49-F238E27FC236}">
                <a16:creationId xmlns:a16="http://schemas.microsoft.com/office/drawing/2014/main" id="{3426A492-33E3-F15D-C5C7-0F00867414D9}"/>
              </a:ext>
            </a:extLst>
          </p:cNvPr>
          <p:cNvSpPr>
            <a:spLocks noGrp="1"/>
          </p:cNvSpPr>
          <p:nvPr>
            <p:ph type="body" sz="quarter" idx="10" hasCustomPrompt="1"/>
          </p:nvPr>
        </p:nvSpPr>
        <p:spPr bwMode="gray">
          <a:xfrm>
            <a:off x="2146201" y="3717048"/>
            <a:ext cx="8198670" cy="369332"/>
          </a:xfrm>
          <a:noFill/>
        </p:spPr>
        <p:txBody>
          <a:bodyPr wrap="square" lIns="0" tIns="0" rIns="0" bIns="0" anchor="t">
            <a:noAutofit/>
          </a:bodyPr>
          <a:lstStyle>
            <a:lvl1pPr rtl="0">
              <a:defRPr sz="2400" b="0">
                <a:solidFill>
                  <a:schemeClr val="tx1"/>
                </a:solidFill>
              </a:defRPr>
            </a:lvl1pPr>
          </a:lstStyle>
          <a:p>
            <a:pPr lvl="0"/>
            <a:r>
              <a:rPr lang="de-DE" dirty="0" err="1"/>
              <a:t>Subtitle</a:t>
            </a:r>
            <a:r>
              <a:rPr lang="de-DE" dirty="0"/>
              <a:t> einfügen</a:t>
            </a:r>
          </a:p>
        </p:txBody>
      </p:sp>
      <p:grpSp>
        <p:nvGrpSpPr>
          <p:cNvPr id="33" name="Gruppieren 32">
            <a:extLst>
              <a:ext uri="{FF2B5EF4-FFF2-40B4-BE49-F238E27FC236}">
                <a16:creationId xmlns:a16="http://schemas.microsoft.com/office/drawing/2014/main" id="{0CB106EF-3BA3-D76F-C56B-E342B8AAF22E}"/>
              </a:ext>
              <a:ext uri="{C183D7F6-B498-43B3-948B-1728B52AA6E4}">
                <adec:decorative xmlns:adec="http://schemas.microsoft.com/office/drawing/2017/decorative" val="1"/>
              </a:ext>
            </a:extLst>
          </p:cNvPr>
          <p:cNvGrpSpPr/>
          <p:nvPr/>
        </p:nvGrpSpPr>
        <p:grpSpPr>
          <a:xfrm>
            <a:off x="996459" y="1160678"/>
            <a:ext cx="1861676" cy="1861676"/>
            <a:chOff x="986299" y="1089558"/>
            <a:chExt cx="1367360" cy="1367360"/>
          </a:xfrm>
        </p:grpSpPr>
        <p:sp>
          <p:nvSpPr>
            <p:cNvPr id="17" name="Bogen 16">
              <a:extLst>
                <a:ext uri="{FF2B5EF4-FFF2-40B4-BE49-F238E27FC236}">
                  <a16:creationId xmlns:a16="http://schemas.microsoft.com/office/drawing/2014/main" id="{40BF3617-F480-F93D-1B46-2842F9036DA8}"/>
                </a:ext>
              </a:extLst>
            </p:cNvPr>
            <p:cNvSpPr>
              <a:spLocks/>
            </p:cNvSpPr>
            <p:nvPr userDrawn="1"/>
          </p:nvSpPr>
          <p:spPr bwMode="gray">
            <a:xfrm flipH="1">
              <a:off x="986299" y="1089558"/>
              <a:ext cx="1367360" cy="1367360"/>
            </a:xfrm>
            <a:prstGeom prst="arc">
              <a:avLst>
                <a:gd name="adj1" fmla="val 10811763"/>
                <a:gd name="adj2" fmla="val 21579546"/>
              </a:avLst>
            </a:prstGeom>
            <a:ln w="635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6" name="Bogen 15">
              <a:extLst>
                <a:ext uri="{FF2B5EF4-FFF2-40B4-BE49-F238E27FC236}">
                  <a16:creationId xmlns:a16="http://schemas.microsoft.com/office/drawing/2014/main" id="{5CB9498F-724C-1927-C59B-9E545F43910F}"/>
                </a:ext>
              </a:extLst>
            </p:cNvPr>
            <p:cNvSpPr>
              <a:spLocks/>
            </p:cNvSpPr>
            <p:nvPr userDrawn="1"/>
          </p:nvSpPr>
          <p:spPr bwMode="gray">
            <a:xfrm flipH="1">
              <a:off x="986299" y="1089558"/>
              <a:ext cx="1367360" cy="1367360"/>
            </a:xfrm>
            <a:prstGeom prst="arc">
              <a:avLst>
                <a:gd name="adj1" fmla="val 21583410"/>
                <a:gd name="adj2" fmla="val 5403393"/>
              </a:avLst>
            </a:prstGeom>
            <a:ln w="635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grpSp>
        <p:nvGrpSpPr>
          <p:cNvPr id="53" name="Gruppieren 52">
            <a:extLst>
              <a:ext uri="{FF2B5EF4-FFF2-40B4-BE49-F238E27FC236}">
                <a16:creationId xmlns:a16="http://schemas.microsoft.com/office/drawing/2014/main" id="{85C1E315-C0D4-8B7B-87F8-FE0E3BE95C3A}"/>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54" name="Gerader Verbinder 53">
              <a:extLst>
                <a:ext uri="{FF2B5EF4-FFF2-40B4-BE49-F238E27FC236}">
                  <a16:creationId xmlns:a16="http://schemas.microsoft.com/office/drawing/2014/main" id="{0D2EE9B8-FCB5-399E-F125-5AFBAEDFBA21}"/>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CF643A00-ED75-68F1-DACD-28F2385EAC60}"/>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4" name="Gruppieren 63">
            <a:extLst>
              <a:ext uri="{FF2B5EF4-FFF2-40B4-BE49-F238E27FC236}">
                <a16:creationId xmlns:a16="http://schemas.microsoft.com/office/drawing/2014/main" id="{07468542-F8CC-4294-5B3D-C3EDAB94CCCD}"/>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65" name="Gerader Verbinder 64">
              <a:extLst>
                <a:ext uri="{FF2B5EF4-FFF2-40B4-BE49-F238E27FC236}">
                  <a16:creationId xmlns:a16="http://schemas.microsoft.com/office/drawing/2014/main" id="{2BA97CC8-699F-8396-7CF0-85B9A2F7D786}"/>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AFA303A7-B579-0788-374F-CBCD519146E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6" name="Grafik 5">
            <a:extLst>
              <a:ext uri="{FF2B5EF4-FFF2-40B4-BE49-F238E27FC236}">
                <a16:creationId xmlns:a16="http://schemas.microsoft.com/office/drawing/2014/main" id="{69AD8A91-7AEB-C53B-7F6C-16297FC0020C}"/>
              </a:ext>
              <a:ext uri="{C183D7F6-B498-43B3-948B-1728B52AA6E4}">
                <adec:decorative xmlns:adec="http://schemas.microsoft.com/office/drawing/2017/decorative" val="1"/>
              </a:ext>
            </a:extLst>
          </p:cNvPr>
          <p:cNvPicPr>
            <a:picLocks/>
          </p:cNvPicPr>
          <p:nvPr/>
        </p:nvPicPr>
        <p:blipFill rotWithShape="1">
          <a:blip r:embed="rId5">
            <a:extLst>
              <a:ext uri="{28A0092B-C50C-407E-A947-70E740481C1C}">
                <a14:useLocalDpi xmlns:a14="http://schemas.microsoft.com/office/drawing/2010/main" val="0"/>
              </a:ext>
            </a:extLst>
          </a:blip>
          <a:srcRect/>
          <a:stretch/>
        </p:blipFill>
        <p:spPr bwMode="gray">
          <a:xfrm>
            <a:off x="0" y="0"/>
            <a:ext cx="12192000" cy="142290"/>
          </a:xfrm>
          <a:prstGeom prst="rect">
            <a:avLst/>
          </a:prstGeom>
        </p:spPr>
      </p:pic>
      <p:grpSp>
        <p:nvGrpSpPr>
          <p:cNvPr id="2" name="Gruppieren 1">
            <a:extLst>
              <a:ext uri="{FF2B5EF4-FFF2-40B4-BE49-F238E27FC236}">
                <a16:creationId xmlns:a16="http://schemas.microsoft.com/office/drawing/2014/main" id="{926F182A-DC90-3BD4-F0E4-FE4E818F8300}"/>
              </a:ext>
              <a:ext uri="{C183D7F6-B498-43B3-948B-1728B52AA6E4}">
                <adec:decorative xmlns:adec="http://schemas.microsoft.com/office/drawing/2017/decorative" val="1"/>
              </a:ext>
            </a:extLst>
          </p:cNvPr>
          <p:cNvGrpSpPr>
            <a:grpSpLocks/>
          </p:cNvGrpSpPr>
          <p:nvPr/>
        </p:nvGrpSpPr>
        <p:grpSpPr bwMode="gray">
          <a:xfrm>
            <a:off x="9768114" y="5710720"/>
            <a:ext cx="1915180" cy="598005"/>
            <a:chOff x="5324475" y="3186112"/>
            <a:chExt cx="1546859" cy="483775"/>
          </a:xfrm>
        </p:grpSpPr>
        <p:sp>
          <p:nvSpPr>
            <p:cNvPr id="4" name="Freihandform: Form 3">
              <a:extLst>
                <a:ext uri="{FF2B5EF4-FFF2-40B4-BE49-F238E27FC236}">
                  <a16:creationId xmlns:a16="http://schemas.microsoft.com/office/drawing/2014/main" id="{BD7D5D96-8F90-E036-05B2-C58D1BF4E30D}"/>
                </a:ext>
              </a:extLst>
            </p:cNvPr>
            <p:cNvSpPr/>
            <p:nvPr/>
          </p:nvSpPr>
          <p:spPr bwMode="gray">
            <a:xfrm>
              <a:off x="5324475" y="3397471"/>
              <a:ext cx="161163" cy="160972"/>
            </a:xfrm>
            <a:custGeom>
              <a:avLst/>
              <a:gdLst>
                <a:gd name="connsiteX0" fmla="*/ 0 w 161163"/>
                <a:gd name="connsiteY0" fmla="*/ 80581 h 160972"/>
                <a:gd name="connsiteX1" fmla="*/ 80582 w 161163"/>
                <a:gd name="connsiteY1" fmla="*/ 0 h 160972"/>
                <a:gd name="connsiteX2" fmla="*/ 161163 w 161163"/>
                <a:gd name="connsiteY2" fmla="*/ 80486 h 160972"/>
                <a:gd name="connsiteX3" fmla="*/ 80582 w 161163"/>
                <a:gd name="connsiteY3" fmla="*/ 160973 h 160972"/>
                <a:gd name="connsiteX4" fmla="*/ 0 w 161163"/>
                <a:gd name="connsiteY4" fmla="*/ 80581 h 160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163" h="160972">
                  <a:moveTo>
                    <a:pt x="0" y="80581"/>
                  </a:moveTo>
                  <a:cubicBezTo>
                    <a:pt x="0" y="36100"/>
                    <a:pt x="36100" y="0"/>
                    <a:pt x="80582" y="0"/>
                  </a:cubicBezTo>
                  <a:cubicBezTo>
                    <a:pt x="125063" y="0"/>
                    <a:pt x="161163" y="36100"/>
                    <a:pt x="161163" y="80486"/>
                  </a:cubicBezTo>
                  <a:cubicBezTo>
                    <a:pt x="161163" y="124873"/>
                    <a:pt x="125063" y="160973"/>
                    <a:pt x="80582" y="160973"/>
                  </a:cubicBezTo>
                  <a:cubicBezTo>
                    <a:pt x="36100" y="160973"/>
                    <a:pt x="0" y="124968"/>
                    <a:pt x="0" y="80581"/>
                  </a:cubicBezTo>
                </a:path>
              </a:pathLst>
            </a:custGeom>
            <a:solidFill>
              <a:schemeClr val="accent1"/>
            </a:solidFill>
            <a:ln w="9525" cap="flat">
              <a:noFill/>
              <a:prstDash val="solid"/>
              <a:miter/>
            </a:ln>
          </p:spPr>
          <p:txBody>
            <a:bodyPr rtlCol="0" anchor="ctr"/>
            <a:lstStyle/>
            <a:p>
              <a:endParaRPr lang="de-DE">
                <a:latin typeface="Carnac Light" panose="02000503000000020004" pitchFamily="2" charset="77"/>
              </a:endParaRPr>
            </a:p>
          </p:txBody>
        </p:sp>
        <p:sp>
          <p:nvSpPr>
            <p:cNvPr id="7" name="Freihandform: Form 6">
              <a:extLst>
                <a:ext uri="{FF2B5EF4-FFF2-40B4-BE49-F238E27FC236}">
                  <a16:creationId xmlns:a16="http://schemas.microsoft.com/office/drawing/2014/main" id="{CB64F509-0955-4AC8-66B6-76413CD8620E}"/>
                </a:ext>
              </a:extLst>
            </p:cNvPr>
            <p:cNvSpPr/>
            <p:nvPr/>
          </p:nvSpPr>
          <p:spPr bwMode="gray">
            <a:xfrm>
              <a:off x="5537454" y="3186112"/>
              <a:ext cx="1333880" cy="483775"/>
            </a:xfrm>
            <a:custGeom>
              <a:avLst/>
              <a:gdLst>
                <a:gd name="connsiteX0" fmla="*/ 1127855 w 1333880"/>
                <a:gd name="connsiteY0" fmla="*/ 56388 h 483775"/>
                <a:gd name="connsiteX1" fmla="*/ 1039367 w 1333880"/>
                <a:gd name="connsiteY1" fmla="*/ 116396 h 483775"/>
                <a:gd name="connsiteX2" fmla="*/ 1039367 w 1333880"/>
                <a:gd name="connsiteY2" fmla="*/ 182404 h 483775"/>
                <a:gd name="connsiteX3" fmla="*/ 1039367 w 1333880"/>
                <a:gd name="connsiteY3" fmla="*/ 262604 h 483775"/>
                <a:gd name="connsiteX4" fmla="*/ 1124807 w 1333880"/>
                <a:gd name="connsiteY4" fmla="*/ 313658 h 483775"/>
                <a:gd name="connsiteX5" fmla="*/ 1266539 w 1333880"/>
                <a:gd name="connsiteY5" fmla="*/ 313658 h 483775"/>
                <a:gd name="connsiteX6" fmla="*/ 1266634 w 1333880"/>
                <a:gd name="connsiteY6" fmla="*/ 313754 h 483775"/>
                <a:gd name="connsiteX7" fmla="*/ 1266634 w 1333880"/>
                <a:gd name="connsiteY7" fmla="*/ 56388 h 483775"/>
                <a:gd name="connsiteX8" fmla="*/ 1127855 w 1333880"/>
                <a:gd name="connsiteY8" fmla="*/ 56388 h 483775"/>
                <a:gd name="connsiteX9" fmla="*/ 1104233 w 1333880"/>
                <a:gd name="connsiteY9" fmla="*/ 0 h 483775"/>
                <a:gd name="connsiteX10" fmla="*/ 1104328 w 1333880"/>
                <a:gd name="connsiteY10" fmla="*/ 0 h 483775"/>
                <a:gd name="connsiteX11" fmla="*/ 1333880 w 1333880"/>
                <a:gd name="connsiteY11" fmla="*/ 0 h 483775"/>
                <a:gd name="connsiteX12" fmla="*/ 1333880 w 1333880"/>
                <a:gd name="connsiteY12" fmla="*/ 403098 h 483775"/>
                <a:gd name="connsiteX13" fmla="*/ 1250727 w 1333880"/>
                <a:gd name="connsiteY13" fmla="*/ 483775 h 483775"/>
                <a:gd name="connsiteX14" fmla="*/ 1017841 w 1333880"/>
                <a:gd name="connsiteY14" fmla="*/ 483775 h 483775"/>
                <a:gd name="connsiteX15" fmla="*/ 1017841 w 1333880"/>
                <a:gd name="connsiteY15" fmla="*/ 424529 h 483775"/>
                <a:gd name="connsiteX16" fmla="*/ 1229105 w 1333880"/>
                <a:gd name="connsiteY16" fmla="*/ 424529 h 483775"/>
                <a:gd name="connsiteX17" fmla="*/ 1266539 w 1333880"/>
                <a:gd name="connsiteY17" fmla="*/ 384429 h 483775"/>
                <a:gd name="connsiteX18" fmla="*/ 1266539 w 1333880"/>
                <a:gd name="connsiteY18" fmla="*/ 370142 h 483775"/>
                <a:gd name="connsiteX19" fmla="*/ 1104423 w 1333880"/>
                <a:gd name="connsiteY19" fmla="*/ 370142 h 483775"/>
                <a:gd name="connsiteX20" fmla="*/ 1007173 w 1333880"/>
                <a:gd name="connsiteY20" fmla="*/ 350901 h 483775"/>
                <a:gd name="connsiteX21" fmla="*/ 970216 w 1333880"/>
                <a:gd name="connsiteY21" fmla="*/ 251079 h 483775"/>
                <a:gd name="connsiteX22" fmla="*/ 970216 w 1333880"/>
                <a:gd name="connsiteY22" fmla="*/ 117443 h 483775"/>
                <a:gd name="connsiteX23" fmla="*/ 1005077 w 1333880"/>
                <a:gd name="connsiteY23" fmla="*/ 22765 h 483775"/>
                <a:gd name="connsiteX24" fmla="*/ 1104233 w 1333880"/>
                <a:gd name="connsiteY24" fmla="*/ 0 h 483775"/>
                <a:gd name="connsiteX25" fmla="*/ 655033 w 1333880"/>
                <a:gd name="connsiteY25" fmla="*/ 0 h 483775"/>
                <a:gd name="connsiteX26" fmla="*/ 915923 w 1333880"/>
                <a:gd name="connsiteY26" fmla="*/ 0 h 483775"/>
                <a:gd name="connsiteX27" fmla="*/ 915923 w 1333880"/>
                <a:gd name="connsiteY27" fmla="*/ 56293 h 483775"/>
                <a:gd name="connsiteX28" fmla="*/ 678751 w 1333880"/>
                <a:gd name="connsiteY28" fmla="*/ 56293 h 483775"/>
                <a:gd name="connsiteX29" fmla="*/ 627411 w 1333880"/>
                <a:gd name="connsiteY29" fmla="*/ 103823 h 483775"/>
                <a:gd name="connsiteX30" fmla="*/ 671226 w 1333880"/>
                <a:gd name="connsiteY30" fmla="*/ 153162 h 483775"/>
                <a:gd name="connsiteX31" fmla="*/ 844867 w 1333880"/>
                <a:gd name="connsiteY31" fmla="*/ 153162 h 483775"/>
                <a:gd name="connsiteX32" fmla="*/ 928591 w 1333880"/>
                <a:gd name="connsiteY32" fmla="*/ 264986 h 483775"/>
                <a:gd name="connsiteX33" fmla="*/ 840581 w 1333880"/>
                <a:gd name="connsiteY33" fmla="*/ 369951 h 483775"/>
                <a:gd name="connsiteX34" fmla="*/ 566260 w 1333880"/>
                <a:gd name="connsiteY34" fmla="*/ 369951 h 483775"/>
                <a:gd name="connsiteX35" fmla="*/ 566260 w 1333880"/>
                <a:gd name="connsiteY35" fmla="*/ 313563 h 483775"/>
                <a:gd name="connsiteX36" fmla="*/ 812387 w 1333880"/>
                <a:gd name="connsiteY36" fmla="*/ 313563 h 483775"/>
                <a:gd name="connsiteX37" fmla="*/ 860393 w 1333880"/>
                <a:gd name="connsiteY37" fmla="*/ 264509 h 483775"/>
                <a:gd name="connsiteX38" fmla="*/ 811148 w 1333880"/>
                <a:gd name="connsiteY38" fmla="*/ 209455 h 483775"/>
                <a:gd name="connsiteX39" fmla="*/ 650366 w 1333880"/>
                <a:gd name="connsiteY39" fmla="*/ 209455 h 483775"/>
                <a:gd name="connsiteX40" fmla="*/ 559974 w 1333880"/>
                <a:gd name="connsiteY40" fmla="*/ 102680 h 483775"/>
                <a:gd name="connsiteX41" fmla="*/ 655033 w 1333880"/>
                <a:gd name="connsiteY41" fmla="*/ 0 h 483775"/>
                <a:gd name="connsiteX42" fmla="*/ 0 w 1333880"/>
                <a:gd name="connsiteY42" fmla="*/ 0 h 483775"/>
                <a:gd name="connsiteX43" fmla="*/ 426911 w 1333880"/>
                <a:gd name="connsiteY43" fmla="*/ 0 h 483775"/>
                <a:gd name="connsiteX44" fmla="*/ 519684 w 1333880"/>
                <a:gd name="connsiteY44" fmla="*/ 103632 h 483775"/>
                <a:gd name="connsiteX45" fmla="*/ 519684 w 1333880"/>
                <a:gd name="connsiteY45" fmla="*/ 370046 h 483775"/>
                <a:gd name="connsiteX46" fmla="*/ 452057 w 1333880"/>
                <a:gd name="connsiteY46" fmla="*/ 370046 h 483775"/>
                <a:gd name="connsiteX47" fmla="*/ 452057 w 1333880"/>
                <a:gd name="connsiteY47" fmla="*/ 122396 h 483775"/>
                <a:gd name="connsiteX48" fmla="*/ 392811 w 1333880"/>
                <a:gd name="connsiteY48" fmla="*/ 56293 h 483775"/>
                <a:gd name="connsiteX49" fmla="*/ 289941 w 1333880"/>
                <a:gd name="connsiteY49" fmla="*/ 56293 h 483775"/>
                <a:gd name="connsiteX50" fmla="*/ 289941 w 1333880"/>
                <a:gd name="connsiteY50" fmla="*/ 370046 h 483775"/>
                <a:gd name="connsiteX51" fmla="*/ 222218 w 1333880"/>
                <a:gd name="connsiteY51" fmla="*/ 370046 h 483775"/>
                <a:gd name="connsiteX52" fmla="*/ 222218 w 1333880"/>
                <a:gd name="connsiteY52" fmla="*/ 56293 h 483775"/>
                <a:gd name="connsiteX53" fmla="*/ 67532 w 1333880"/>
                <a:gd name="connsiteY53" fmla="*/ 56293 h 483775"/>
                <a:gd name="connsiteX54" fmla="*/ 67532 w 1333880"/>
                <a:gd name="connsiteY54" fmla="*/ 370046 h 483775"/>
                <a:gd name="connsiteX55" fmla="*/ 0 w 1333880"/>
                <a:gd name="connsiteY55" fmla="*/ 370046 h 48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333880" h="483775">
                  <a:moveTo>
                    <a:pt x="1127855" y="56388"/>
                  </a:moveTo>
                  <a:cubicBezTo>
                    <a:pt x="1058513" y="54769"/>
                    <a:pt x="1041654" y="70961"/>
                    <a:pt x="1039367" y="116396"/>
                  </a:cubicBezTo>
                  <a:cubicBezTo>
                    <a:pt x="1039082" y="121444"/>
                    <a:pt x="1039558" y="133160"/>
                    <a:pt x="1039367" y="182404"/>
                  </a:cubicBezTo>
                  <a:cubicBezTo>
                    <a:pt x="1039177" y="240411"/>
                    <a:pt x="1039367" y="260318"/>
                    <a:pt x="1039367" y="262604"/>
                  </a:cubicBezTo>
                  <a:cubicBezTo>
                    <a:pt x="1040415" y="316801"/>
                    <a:pt x="1082897" y="313944"/>
                    <a:pt x="1124807" y="313658"/>
                  </a:cubicBezTo>
                  <a:lnTo>
                    <a:pt x="1266539" y="313658"/>
                  </a:lnTo>
                  <a:lnTo>
                    <a:pt x="1266634" y="313754"/>
                  </a:lnTo>
                  <a:lnTo>
                    <a:pt x="1266634" y="56388"/>
                  </a:lnTo>
                  <a:cubicBezTo>
                    <a:pt x="1266634" y="56388"/>
                    <a:pt x="1131950" y="56483"/>
                    <a:pt x="1127855" y="56388"/>
                  </a:cubicBezTo>
                  <a:close/>
                  <a:moveTo>
                    <a:pt x="1104233" y="0"/>
                  </a:moveTo>
                  <a:lnTo>
                    <a:pt x="1104328" y="0"/>
                  </a:lnTo>
                  <a:lnTo>
                    <a:pt x="1333880" y="0"/>
                  </a:lnTo>
                  <a:lnTo>
                    <a:pt x="1333880" y="403098"/>
                  </a:lnTo>
                  <a:cubicBezTo>
                    <a:pt x="1333880" y="455867"/>
                    <a:pt x="1313497" y="483775"/>
                    <a:pt x="1250727" y="483775"/>
                  </a:cubicBezTo>
                  <a:lnTo>
                    <a:pt x="1017841" y="483775"/>
                  </a:lnTo>
                  <a:lnTo>
                    <a:pt x="1017841" y="424529"/>
                  </a:lnTo>
                  <a:lnTo>
                    <a:pt x="1229105" y="424529"/>
                  </a:lnTo>
                  <a:cubicBezTo>
                    <a:pt x="1261109" y="424529"/>
                    <a:pt x="1266539" y="412337"/>
                    <a:pt x="1266539" y="384429"/>
                  </a:cubicBezTo>
                  <a:cubicBezTo>
                    <a:pt x="1266539" y="381476"/>
                    <a:pt x="1266539" y="370142"/>
                    <a:pt x="1266539" y="370142"/>
                  </a:cubicBezTo>
                  <a:lnTo>
                    <a:pt x="1104423" y="370142"/>
                  </a:lnTo>
                  <a:cubicBezTo>
                    <a:pt x="1040511" y="370142"/>
                    <a:pt x="1019746" y="359855"/>
                    <a:pt x="1007173" y="350901"/>
                  </a:cubicBezTo>
                  <a:cubicBezTo>
                    <a:pt x="988504" y="335185"/>
                    <a:pt x="970216" y="316801"/>
                    <a:pt x="970216" y="251079"/>
                  </a:cubicBezTo>
                  <a:lnTo>
                    <a:pt x="970216" y="117443"/>
                  </a:lnTo>
                  <a:cubicBezTo>
                    <a:pt x="970502" y="55340"/>
                    <a:pt x="987075" y="37148"/>
                    <a:pt x="1005077" y="22765"/>
                  </a:cubicBezTo>
                  <a:cubicBezTo>
                    <a:pt x="1021556" y="9620"/>
                    <a:pt x="1044035" y="0"/>
                    <a:pt x="1104233" y="0"/>
                  </a:cubicBezTo>
                  <a:close/>
                  <a:moveTo>
                    <a:pt x="655033" y="0"/>
                  </a:moveTo>
                  <a:lnTo>
                    <a:pt x="915923" y="0"/>
                  </a:lnTo>
                  <a:lnTo>
                    <a:pt x="915923" y="56293"/>
                  </a:lnTo>
                  <a:lnTo>
                    <a:pt x="678751" y="56293"/>
                  </a:lnTo>
                  <a:cubicBezTo>
                    <a:pt x="631793" y="56293"/>
                    <a:pt x="627411" y="88392"/>
                    <a:pt x="627411" y="103823"/>
                  </a:cubicBezTo>
                  <a:cubicBezTo>
                    <a:pt x="627411" y="123539"/>
                    <a:pt x="627411" y="153162"/>
                    <a:pt x="671226" y="153162"/>
                  </a:cubicBezTo>
                  <a:lnTo>
                    <a:pt x="844867" y="153162"/>
                  </a:lnTo>
                  <a:cubicBezTo>
                    <a:pt x="903350" y="153162"/>
                    <a:pt x="928591" y="187738"/>
                    <a:pt x="928591" y="264986"/>
                  </a:cubicBezTo>
                  <a:cubicBezTo>
                    <a:pt x="928591" y="329756"/>
                    <a:pt x="908970" y="369951"/>
                    <a:pt x="840581" y="369951"/>
                  </a:cubicBezTo>
                  <a:lnTo>
                    <a:pt x="566260" y="369951"/>
                  </a:lnTo>
                  <a:lnTo>
                    <a:pt x="566260" y="313563"/>
                  </a:lnTo>
                  <a:lnTo>
                    <a:pt x="812387" y="313563"/>
                  </a:lnTo>
                  <a:cubicBezTo>
                    <a:pt x="860393" y="313563"/>
                    <a:pt x="860393" y="280511"/>
                    <a:pt x="860393" y="264509"/>
                  </a:cubicBezTo>
                  <a:cubicBezTo>
                    <a:pt x="860393" y="247269"/>
                    <a:pt x="860393" y="209455"/>
                    <a:pt x="811148" y="209455"/>
                  </a:cubicBezTo>
                  <a:lnTo>
                    <a:pt x="650366" y="209455"/>
                  </a:lnTo>
                  <a:cubicBezTo>
                    <a:pt x="584072" y="209455"/>
                    <a:pt x="559974" y="160592"/>
                    <a:pt x="559974" y="102680"/>
                  </a:cubicBezTo>
                  <a:cubicBezTo>
                    <a:pt x="559974" y="48482"/>
                    <a:pt x="582072" y="0"/>
                    <a:pt x="655033" y="0"/>
                  </a:cubicBezTo>
                  <a:close/>
                  <a:moveTo>
                    <a:pt x="0" y="0"/>
                  </a:moveTo>
                  <a:lnTo>
                    <a:pt x="426911" y="0"/>
                  </a:lnTo>
                  <a:cubicBezTo>
                    <a:pt x="493776" y="0"/>
                    <a:pt x="519779" y="53245"/>
                    <a:pt x="519684" y="103632"/>
                  </a:cubicBezTo>
                  <a:lnTo>
                    <a:pt x="519684" y="370046"/>
                  </a:lnTo>
                  <a:lnTo>
                    <a:pt x="452057" y="370046"/>
                  </a:lnTo>
                  <a:lnTo>
                    <a:pt x="452057" y="122396"/>
                  </a:lnTo>
                  <a:cubicBezTo>
                    <a:pt x="452057" y="77153"/>
                    <a:pt x="427577" y="56293"/>
                    <a:pt x="392811" y="56293"/>
                  </a:cubicBezTo>
                  <a:lnTo>
                    <a:pt x="289941" y="56293"/>
                  </a:lnTo>
                  <a:lnTo>
                    <a:pt x="289941" y="370046"/>
                  </a:lnTo>
                  <a:lnTo>
                    <a:pt x="222218" y="370046"/>
                  </a:lnTo>
                  <a:lnTo>
                    <a:pt x="222218" y="56293"/>
                  </a:lnTo>
                  <a:lnTo>
                    <a:pt x="67532" y="56293"/>
                  </a:lnTo>
                  <a:lnTo>
                    <a:pt x="67532" y="370046"/>
                  </a:lnTo>
                  <a:lnTo>
                    <a:pt x="0" y="370046"/>
                  </a:lnTo>
                  <a:close/>
                </a:path>
              </a:pathLst>
            </a:custGeom>
            <a:solidFill>
              <a:schemeClr val="tx2"/>
            </a:solidFill>
            <a:ln w="9525" cap="flat">
              <a:noFill/>
              <a:prstDash val="solid"/>
              <a:miter/>
            </a:ln>
          </p:spPr>
          <p:txBody>
            <a:bodyPr rtlCol="0" anchor="ctr"/>
            <a:lstStyle/>
            <a:p>
              <a:endParaRPr lang="de-DE">
                <a:latin typeface="Carnac Light" panose="02000503000000020004" pitchFamily="2" charset="77"/>
              </a:endParaRPr>
            </a:p>
          </p:txBody>
        </p:sp>
      </p:grpSp>
      <p:grpSp>
        <p:nvGrpSpPr>
          <p:cNvPr id="120" name="Gruppieren 119">
            <a:extLst>
              <a:ext uri="{FF2B5EF4-FFF2-40B4-BE49-F238E27FC236}">
                <a16:creationId xmlns:a16="http://schemas.microsoft.com/office/drawing/2014/main" id="{4C92181B-04CE-084C-B7E6-66C9747E11FF}"/>
              </a:ext>
              <a:ext uri="{C183D7F6-B498-43B3-948B-1728B52AA6E4}">
                <adec:decorative xmlns:adec="http://schemas.microsoft.com/office/drawing/2017/decorative" val="1"/>
              </a:ext>
            </a:extLst>
          </p:cNvPr>
          <p:cNvGrpSpPr/>
          <p:nvPr/>
        </p:nvGrpSpPr>
        <p:grpSpPr bwMode="gray">
          <a:xfrm>
            <a:off x="-254000" y="296863"/>
            <a:ext cx="144000" cy="6300787"/>
            <a:chOff x="0" y="296863"/>
            <a:chExt cx="12192000" cy="6300787"/>
          </a:xfrm>
        </p:grpSpPr>
        <p:cxnSp>
          <p:nvCxnSpPr>
            <p:cNvPr id="121" name="Gerader Verbinder 120">
              <a:extLst>
                <a:ext uri="{FF2B5EF4-FFF2-40B4-BE49-F238E27FC236}">
                  <a16:creationId xmlns:a16="http://schemas.microsoft.com/office/drawing/2014/main" id="{74322542-8848-91A3-2CC1-B49F2A1C64C7}"/>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2" name="Gerader Verbinder 121">
              <a:extLst>
                <a:ext uri="{FF2B5EF4-FFF2-40B4-BE49-F238E27FC236}">
                  <a16:creationId xmlns:a16="http://schemas.microsoft.com/office/drawing/2014/main" id="{B4A02903-A4EC-4DBC-1A88-BA0045DE290B}"/>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3" name="Gerader Verbinder 122">
              <a:extLst>
                <a:ext uri="{FF2B5EF4-FFF2-40B4-BE49-F238E27FC236}">
                  <a16:creationId xmlns:a16="http://schemas.microsoft.com/office/drawing/2014/main" id="{6147429D-CE2D-FAC7-AC90-1D18B481895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4" name="Gerader Verbinder 123">
              <a:extLst>
                <a:ext uri="{FF2B5EF4-FFF2-40B4-BE49-F238E27FC236}">
                  <a16:creationId xmlns:a16="http://schemas.microsoft.com/office/drawing/2014/main" id="{1FC67ADE-19D3-3847-E500-5F273F458B5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5" name="Gerader Verbinder 124">
              <a:extLst>
                <a:ext uri="{FF2B5EF4-FFF2-40B4-BE49-F238E27FC236}">
                  <a16:creationId xmlns:a16="http://schemas.microsoft.com/office/drawing/2014/main" id="{0F8BAEAD-A9E8-3D9D-9135-87183F75ECAF}"/>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6" name="Gerader Verbinder 125">
              <a:extLst>
                <a:ext uri="{FF2B5EF4-FFF2-40B4-BE49-F238E27FC236}">
                  <a16:creationId xmlns:a16="http://schemas.microsoft.com/office/drawing/2014/main" id="{D8988380-95F6-6010-BA59-76C89F69FE37}"/>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7" name="Gerader Verbinder 126">
              <a:extLst>
                <a:ext uri="{FF2B5EF4-FFF2-40B4-BE49-F238E27FC236}">
                  <a16:creationId xmlns:a16="http://schemas.microsoft.com/office/drawing/2014/main" id="{8E3ACD83-FC57-BA76-02B4-80C0805AC05C}"/>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28" name="Gruppieren 127">
            <a:extLst>
              <a:ext uri="{FF2B5EF4-FFF2-40B4-BE49-F238E27FC236}">
                <a16:creationId xmlns:a16="http://schemas.microsoft.com/office/drawing/2014/main" id="{9D0271DE-B45F-E85C-E6B5-C65E75C53AF9}"/>
              </a:ext>
              <a:ext uri="{C183D7F6-B498-43B3-948B-1728B52AA6E4}">
                <adec:decorative xmlns:adec="http://schemas.microsoft.com/office/drawing/2017/decorative" val="1"/>
              </a:ext>
            </a:extLst>
          </p:cNvPr>
          <p:cNvGrpSpPr/>
          <p:nvPr/>
        </p:nvGrpSpPr>
        <p:grpSpPr bwMode="gray">
          <a:xfrm>
            <a:off x="12301940" y="296863"/>
            <a:ext cx="144000" cy="6300787"/>
            <a:chOff x="0" y="296863"/>
            <a:chExt cx="12192000" cy="6300787"/>
          </a:xfrm>
        </p:grpSpPr>
        <p:cxnSp>
          <p:nvCxnSpPr>
            <p:cNvPr id="129" name="Gerader Verbinder 128">
              <a:extLst>
                <a:ext uri="{FF2B5EF4-FFF2-40B4-BE49-F238E27FC236}">
                  <a16:creationId xmlns:a16="http://schemas.microsoft.com/office/drawing/2014/main" id="{7FCF6D2C-0495-5977-2523-73C276F6CF77}"/>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0" name="Gerader Verbinder 129">
              <a:extLst>
                <a:ext uri="{FF2B5EF4-FFF2-40B4-BE49-F238E27FC236}">
                  <a16:creationId xmlns:a16="http://schemas.microsoft.com/office/drawing/2014/main" id="{D4434A06-31AC-9B63-5BC1-BAB9B7E2EE60}"/>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1" name="Gerader Verbinder 130">
              <a:extLst>
                <a:ext uri="{FF2B5EF4-FFF2-40B4-BE49-F238E27FC236}">
                  <a16:creationId xmlns:a16="http://schemas.microsoft.com/office/drawing/2014/main" id="{F6EC6CFA-74E2-30F7-39FC-5B9B1ADD5A00}"/>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2" name="Gerader Verbinder 131">
              <a:extLst>
                <a:ext uri="{FF2B5EF4-FFF2-40B4-BE49-F238E27FC236}">
                  <a16:creationId xmlns:a16="http://schemas.microsoft.com/office/drawing/2014/main" id="{C3E47CFD-4B65-07C1-9B1C-A0CFFD002667}"/>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3" name="Gerader Verbinder 132">
              <a:extLst>
                <a:ext uri="{FF2B5EF4-FFF2-40B4-BE49-F238E27FC236}">
                  <a16:creationId xmlns:a16="http://schemas.microsoft.com/office/drawing/2014/main" id="{ABE64895-180E-8835-CAAA-43AE1592414C}"/>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4" name="Gerader Verbinder 133">
              <a:extLst>
                <a:ext uri="{FF2B5EF4-FFF2-40B4-BE49-F238E27FC236}">
                  <a16:creationId xmlns:a16="http://schemas.microsoft.com/office/drawing/2014/main" id="{706A53F2-270B-CBD8-EBEF-8511551A4E9C}"/>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5" name="Gerader Verbinder 134">
              <a:extLst>
                <a:ext uri="{FF2B5EF4-FFF2-40B4-BE49-F238E27FC236}">
                  <a16:creationId xmlns:a16="http://schemas.microsoft.com/office/drawing/2014/main" id="{CBB7E1F7-F26E-C672-836B-E0BB50AA87F1}"/>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7409296"/>
      </p:ext>
    </p:extLst>
  </p:cSld>
  <p:clrMapOvr>
    <a:masterClrMapping/>
  </p:clrMapOvr>
  <p:hf hdr="0" ft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269874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Titel 19">
            <a:extLst>
              <a:ext uri="{FF2B5EF4-FFF2-40B4-BE49-F238E27FC236}">
                <a16:creationId xmlns:a16="http://schemas.microsoft.com/office/drawing/2014/main" id="{92B86D02-4286-2F83-9BEC-EF0BA6257A9A}"/>
              </a:ext>
            </a:extLst>
          </p:cNvPr>
          <p:cNvSpPr>
            <a:spLocks noGrp="1"/>
          </p:cNvSpPr>
          <p:nvPr>
            <p:ph type="title"/>
          </p:nvPr>
        </p:nvSpPr>
        <p:spPr bwMode="gray"/>
        <p:txBody>
          <a:bodyPr vert="horz"/>
          <a:lstStyle>
            <a:lvl1pPr>
              <a:defRPr>
                <a:solidFill>
                  <a:schemeClr val="tx1"/>
                </a:solidFill>
              </a:defRPr>
            </a:lvl1pPr>
          </a:lstStyle>
          <a:p>
            <a:r>
              <a:rPr lang="de-DE"/>
              <a:t>Mastertitelformat bearbeiten</a:t>
            </a:r>
            <a:endParaRPr lang="de-DE" dirty="0"/>
          </a:p>
        </p:txBody>
      </p:sp>
      <p:sp>
        <p:nvSpPr>
          <p:cNvPr id="27" name="Textplatzhalter 26">
            <a:extLst>
              <a:ext uri="{FF2B5EF4-FFF2-40B4-BE49-F238E27FC236}">
                <a16:creationId xmlns:a16="http://schemas.microsoft.com/office/drawing/2014/main" id="{33F22782-CA28-1742-8EAF-1EBC495151D6}"/>
              </a:ext>
            </a:extLst>
          </p:cNvPr>
          <p:cNvSpPr>
            <a:spLocks noGrp="1"/>
          </p:cNvSpPr>
          <p:nvPr>
            <p:ph type="body" sz="quarter" idx="27" hasCustomPrompt="1"/>
          </p:nvPr>
        </p:nvSpPr>
        <p:spPr bwMode="gray">
          <a:xfrm>
            <a:off x="623888" y="177323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dirty="0"/>
              <a:t>01</a:t>
            </a:r>
          </a:p>
        </p:txBody>
      </p:sp>
      <p:sp>
        <p:nvSpPr>
          <p:cNvPr id="40" name="Textplatzhalter 39">
            <a:extLst>
              <a:ext uri="{FF2B5EF4-FFF2-40B4-BE49-F238E27FC236}">
                <a16:creationId xmlns:a16="http://schemas.microsoft.com/office/drawing/2014/main" id="{AFA1D9AC-7FF6-6CF2-35C7-822784B6FBCD}"/>
              </a:ext>
            </a:extLst>
          </p:cNvPr>
          <p:cNvSpPr>
            <a:spLocks noGrp="1"/>
          </p:cNvSpPr>
          <p:nvPr>
            <p:ph type="body" sz="quarter" idx="20"/>
          </p:nvPr>
        </p:nvSpPr>
        <p:spPr bwMode="gray">
          <a:xfrm>
            <a:off x="1271909" y="186612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31" name="Textplatzhalter 30">
            <a:extLst>
              <a:ext uri="{FF2B5EF4-FFF2-40B4-BE49-F238E27FC236}">
                <a16:creationId xmlns:a16="http://schemas.microsoft.com/office/drawing/2014/main" id="{A225E70E-1E64-2A5E-A79A-21A1610298BC}"/>
              </a:ext>
            </a:extLst>
          </p:cNvPr>
          <p:cNvSpPr>
            <a:spLocks noGrp="1"/>
          </p:cNvSpPr>
          <p:nvPr>
            <p:ph type="body" sz="quarter" idx="28" hasCustomPrompt="1"/>
          </p:nvPr>
        </p:nvSpPr>
        <p:spPr bwMode="gray">
          <a:xfrm>
            <a:off x="623888" y="242208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dirty="0"/>
              <a:t>02</a:t>
            </a:r>
          </a:p>
        </p:txBody>
      </p:sp>
      <p:sp>
        <p:nvSpPr>
          <p:cNvPr id="42" name="Textplatzhalter 41">
            <a:extLst>
              <a:ext uri="{FF2B5EF4-FFF2-40B4-BE49-F238E27FC236}">
                <a16:creationId xmlns:a16="http://schemas.microsoft.com/office/drawing/2014/main" id="{7DD5731B-8B22-6B97-9772-427E558C5370}"/>
              </a:ext>
            </a:extLst>
          </p:cNvPr>
          <p:cNvSpPr>
            <a:spLocks noGrp="1"/>
          </p:cNvSpPr>
          <p:nvPr>
            <p:ph type="body" sz="quarter" idx="21"/>
          </p:nvPr>
        </p:nvSpPr>
        <p:spPr bwMode="gray">
          <a:xfrm>
            <a:off x="1271909" y="251497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33" name="Textplatzhalter 32">
            <a:extLst>
              <a:ext uri="{FF2B5EF4-FFF2-40B4-BE49-F238E27FC236}">
                <a16:creationId xmlns:a16="http://schemas.microsoft.com/office/drawing/2014/main" id="{C1949DC9-940C-2885-92DC-0C5C3D1ADEEF}"/>
              </a:ext>
            </a:extLst>
          </p:cNvPr>
          <p:cNvSpPr>
            <a:spLocks noGrp="1"/>
          </p:cNvSpPr>
          <p:nvPr>
            <p:ph type="body" sz="quarter" idx="29" hasCustomPrompt="1"/>
          </p:nvPr>
        </p:nvSpPr>
        <p:spPr bwMode="gray">
          <a:xfrm>
            <a:off x="623888" y="307093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dirty="0"/>
              <a:t>03</a:t>
            </a:r>
          </a:p>
        </p:txBody>
      </p:sp>
      <p:sp>
        <p:nvSpPr>
          <p:cNvPr id="44" name="Textplatzhalter 43">
            <a:extLst>
              <a:ext uri="{FF2B5EF4-FFF2-40B4-BE49-F238E27FC236}">
                <a16:creationId xmlns:a16="http://schemas.microsoft.com/office/drawing/2014/main" id="{9F56ED74-2FA8-BCC2-B137-E35B01E4CD6A}"/>
              </a:ext>
            </a:extLst>
          </p:cNvPr>
          <p:cNvSpPr>
            <a:spLocks noGrp="1"/>
          </p:cNvSpPr>
          <p:nvPr>
            <p:ph type="body" sz="quarter" idx="22"/>
          </p:nvPr>
        </p:nvSpPr>
        <p:spPr bwMode="gray">
          <a:xfrm>
            <a:off x="1271909" y="316382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37" name="Textplatzhalter 36">
            <a:extLst>
              <a:ext uri="{FF2B5EF4-FFF2-40B4-BE49-F238E27FC236}">
                <a16:creationId xmlns:a16="http://schemas.microsoft.com/office/drawing/2014/main" id="{0E65178D-48CF-FC56-3256-73C39666EC03}"/>
              </a:ext>
            </a:extLst>
          </p:cNvPr>
          <p:cNvSpPr>
            <a:spLocks noGrp="1"/>
          </p:cNvSpPr>
          <p:nvPr>
            <p:ph type="body" sz="quarter" idx="31" hasCustomPrompt="1"/>
          </p:nvPr>
        </p:nvSpPr>
        <p:spPr bwMode="gray">
          <a:xfrm>
            <a:off x="623888" y="371978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dirty="0"/>
              <a:t>04</a:t>
            </a:r>
          </a:p>
        </p:txBody>
      </p:sp>
      <p:sp>
        <p:nvSpPr>
          <p:cNvPr id="46" name="Textplatzhalter 45">
            <a:extLst>
              <a:ext uri="{FF2B5EF4-FFF2-40B4-BE49-F238E27FC236}">
                <a16:creationId xmlns:a16="http://schemas.microsoft.com/office/drawing/2014/main" id="{3B5F6881-B4A7-C6CF-7F85-125FFCEA1F14}"/>
              </a:ext>
            </a:extLst>
          </p:cNvPr>
          <p:cNvSpPr>
            <a:spLocks noGrp="1"/>
          </p:cNvSpPr>
          <p:nvPr>
            <p:ph type="body" sz="quarter" idx="23"/>
          </p:nvPr>
        </p:nvSpPr>
        <p:spPr bwMode="gray">
          <a:xfrm>
            <a:off x="1271909" y="381267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39" name="Textplatzhalter 38">
            <a:extLst>
              <a:ext uri="{FF2B5EF4-FFF2-40B4-BE49-F238E27FC236}">
                <a16:creationId xmlns:a16="http://schemas.microsoft.com/office/drawing/2014/main" id="{62234AEC-7777-A22A-092F-C4A3650E5390}"/>
              </a:ext>
            </a:extLst>
          </p:cNvPr>
          <p:cNvSpPr>
            <a:spLocks noGrp="1"/>
          </p:cNvSpPr>
          <p:nvPr>
            <p:ph type="body" sz="quarter" idx="32" hasCustomPrompt="1"/>
          </p:nvPr>
        </p:nvSpPr>
        <p:spPr bwMode="gray">
          <a:xfrm>
            <a:off x="623888" y="436863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dirty="0"/>
              <a:t>05</a:t>
            </a:r>
          </a:p>
        </p:txBody>
      </p:sp>
      <p:sp>
        <p:nvSpPr>
          <p:cNvPr id="48" name="Textplatzhalter 47">
            <a:extLst>
              <a:ext uri="{FF2B5EF4-FFF2-40B4-BE49-F238E27FC236}">
                <a16:creationId xmlns:a16="http://schemas.microsoft.com/office/drawing/2014/main" id="{FB66BA4C-7DC0-AC8B-2142-7292266FAAD3}"/>
              </a:ext>
            </a:extLst>
          </p:cNvPr>
          <p:cNvSpPr>
            <a:spLocks noGrp="1"/>
          </p:cNvSpPr>
          <p:nvPr>
            <p:ph type="body" sz="quarter" idx="24"/>
          </p:nvPr>
        </p:nvSpPr>
        <p:spPr bwMode="gray">
          <a:xfrm>
            <a:off x="1271909" y="446152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43" name="Textplatzhalter 42">
            <a:extLst>
              <a:ext uri="{FF2B5EF4-FFF2-40B4-BE49-F238E27FC236}">
                <a16:creationId xmlns:a16="http://schemas.microsoft.com/office/drawing/2014/main" id="{44A2CAD4-A83B-461A-EFD4-C7D92EEC3F28}"/>
              </a:ext>
            </a:extLst>
          </p:cNvPr>
          <p:cNvSpPr>
            <a:spLocks noGrp="1"/>
          </p:cNvSpPr>
          <p:nvPr>
            <p:ph type="body" sz="quarter" idx="33" hasCustomPrompt="1"/>
          </p:nvPr>
        </p:nvSpPr>
        <p:spPr bwMode="gray">
          <a:xfrm>
            <a:off x="623888" y="501748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dirty="0"/>
              <a:t>06</a:t>
            </a:r>
          </a:p>
        </p:txBody>
      </p:sp>
      <p:sp>
        <p:nvSpPr>
          <p:cNvPr id="50" name="Textplatzhalter 49">
            <a:extLst>
              <a:ext uri="{FF2B5EF4-FFF2-40B4-BE49-F238E27FC236}">
                <a16:creationId xmlns:a16="http://schemas.microsoft.com/office/drawing/2014/main" id="{5B367049-C360-CF5F-A663-C8CA4DAAAF7C}"/>
              </a:ext>
            </a:extLst>
          </p:cNvPr>
          <p:cNvSpPr>
            <a:spLocks noGrp="1"/>
          </p:cNvSpPr>
          <p:nvPr>
            <p:ph type="body" sz="quarter" idx="25"/>
          </p:nvPr>
        </p:nvSpPr>
        <p:spPr bwMode="gray">
          <a:xfrm>
            <a:off x="1271909" y="511037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47" name="Textplatzhalter 46">
            <a:extLst>
              <a:ext uri="{FF2B5EF4-FFF2-40B4-BE49-F238E27FC236}">
                <a16:creationId xmlns:a16="http://schemas.microsoft.com/office/drawing/2014/main" id="{2A886A2A-1D31-F168-8628-AC4D79D0A91D}"/>
              </a:ext>
            </a:extLst>
          </p:cNvPr>
          <p:cNvSpPr>
            <a:spLocks noGrp="1"/>
          </p:cNvSpPr>
          <p:nvPr>
            <p:ph type="body" sz="quarter" idx="34" hasCustomPrompt="1"/>
          </p:nvPr>
        </p:nvSpPr>
        <p:spPr bwMode="gray">
          <a:xfrm>
            <a:off x="623888" y="5666336"/>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dirty="0"/>
              <a:t>07</a:t>
            </a:r>
          </a:p>
        </p:txBody>
      </p:sp>
      <p:sp>
        <p:nvSpPr>
          <p:cNvPr id="52" name="Textplatzhalter 51">
            <a:extLst>
              <a:ext uri="{FF2B5EF4-FFF2-40B4-BE49-F238E27FC236}">
                <a16:creationId xmlns:a16="http://schemas.microsoft.com/office/drawing/2014/main" id="{84B8B000-804A-CCD9-B993-C2AF922F74FD}"/>
              </a:ext>
            </a:extLst>
          </p:cNvPr>
          <p:cNvSpPr>
            <a:spLocks noGrp="1"/>
          </p:cNvSpPr>
          <p:nvPr>
            <p:ph type="body" sz="quarter" idx="26"/>
          </p:nvPr>
        </p:nvSpPr>
        <p:spPr bwMode="gray">
          <a:xfrm>
            <a:off x="1271909" y="5759226"/>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9" name="Fußzeilenplatzhalter 8">
            <a:extLst>
              <a:ext uri="{FF2B5EF4-FFF2-40B4-BE49-F238E27FC236}">
                <a16:creationId xmlns:a16="http://schemas.microsoft.com/office/drawing/2014/main" id="{D03EB9C7-5B0D-40C1-4C1E-90D2B3B10616}"/>
              </a:ext>
              <a:ext uri="{C183D7F6-B498-43B3-948B-1728B52AA6E4}">
                <adec:decorative xmlns:adec="http://schemas.microsoft.com/office/drawing/2017/decorative" val="0"/>
              </a:ext>
            </a:extLst>
          </p:cNvPr>
          <p:cNvSpPr>
            <a:spLocks noGrp="1"/>
          </p:cNvSpPr>
          <p:nvPr>
            <p:ph type="ftr" sz="quarter" idx="10"/>
          </p:nvPr>
        </p:nvSpPr>
        <p:spPr bwMode="gray"/>
        <p:txBody>
          <a:bodyPr>
            <a:noAutofit/>
          </a:bodyPr>
          <a:lstStyle>
            <a:lvl1pPr rtl="0">
              <a:defRPr>
                <a:solidFill>
                  <a:schemeClr val="tx1"/>
                </a:solidFill>
              </a:defRPr>
            </a:lvl1pPr>
          </a:lstStyle>
          <a:p>
            <a:endParaRPr lang="en-US"/>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noAutofit/>
          </a:bodyPr>
          <a:lstStyle>
            <a:lvl1pPr rtl="0">
              <a:defRPr>
                <a:solidFill>
                  <a:schemeClr val="tx1"/>
                </a:solidFill>
              </a:defRPr>
            </a:lvl1pPr>
          </a:lstStyle>
          <a:p>
            <a:fld id="{C7D046C8-03B9-4997-9490-81EAE2ED7C49}" type="slidenum">
              <a:rPr lang="en-US" smtClean="0"/>
              <a:t>‹Nr.›</a:t>
            </a:fld>
            <a:endParaRPr lang="en-US"/>
          </a:p>
        </p:txBody>
      </p:sp>
    </p:spTree>
    <p:extLst>
      <p:ext uri="{BB962C8B-B14F-4D97-AF65-F5344CB8AC3E}">
        <p14:creationId xmlns:p14="http://schemas.microsoft.com/office/powerpoint/2010/main" val="1909465761"/>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Kapitel">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5D1E776-3F94-A5E4-A48A-3D2EF966C59D}"/>
              </a:ext>
            </a:extLst>
          </p:cNvPr>
          <p:cNvGraphicFramePr>
            <a:graphicFrameLocks noChangeAspect="1"/>
          </p:cNvGraphicFramePr>
          <p:nvPr>
            <p:custDataLst>
              <p:tags r:id="rId1"/>
            </p:custDataLst>
            <p:extLst>
              <p:ext uri="{D42A27DB-BD31-4B8C-83A1-F6EECF244321}">
                <p14:modId xmlns:p14="http://schemas.microsoft.com/office/powerpoint/2010/main" val="3526784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E5D1E776-3F94-A5E4-A48A-3D2EF966C5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3" name="Bildplatzhalter" descr="Bild füllt 2/3 der Seite aus, links Kapitelnummer, Titel und Untertitel, Bild ist änderbar.">
            <a:extLst>
              <a:ext uri="{FF2B5EF4-FFF2-40B4-BE49-F238E27FC236}">
                <a16:creationId xmlns:a16="http://schemas.microsoft.com/office/drawing/2014/main" id="{20932346-D43C-7963-3AAA-F4F931121B5B}"/>
              </a:ext>
              <a:ext uri="{C183D7F6-B498-43B3-948B-1728B52AA6E4}">
                <adec:decorative xmlns:adec="http://schemas.microsoft.com/office/drawing/2017/decorative" val="0"/>
              </a:ext>
            </a:extLst>
          </p:cNvPr>
          <p:cNvSpPr>
            <a:spLocks noGrp="1"/>
          </p:cNvSpPr>
          <p:nvPr>
            <p:ph type="pic" sz="quarter" idx="13"/>
          </p:nvPr>
        </p:nvSpPr>
        <p:spPr bwMode="gray">
          <a:xfrm>
            <a:off x="4728306" y="0"/>
            <a:ext cx="7463692" cy="6858000"/>
          </a:xfrm>
          <a:custGeom>
            <a:avLst/>
            <a:gdLst>
              <a:gd name="connsiteX0" fmla="*/ 6036214 w 7463692"/>
              <a:gd name="connsiteY0" fmla="*/ 454511 h 6858000"/>
              <a:gd name="connsiteX1" fmla="*/ 5976214 w 7463692"/>
              <a:gd name="connsiteY1" fmla="*/ 514511 h 6858000"/>
              <a:gd name="connsiteX2" fmla="*/ 6036214 w 7463692"/>
              <a:gd name="connsiteY2" fmla="*/ 574511 h 6858000"/>
              <a:gd name="connsiteX3" fmla="*/ 6096214 w 7463692"/>
              <a:gd name="connsiteY3" fmla="*/ 514511 h 6858000"/>
              <a:gd name="connsiteX4" fmla="*/ 6036214 w 7463692"/>
              <a:gd name="connsiteY4" fmla="*/ 454511 h 6858000"/>
              <a:gd name="connsiteX5" fmla="*/ 6975273 w 7463692"/>
              <a:gd name="connsiteY5" fmla="*/ 338982 h 6858000"/>
              <a:gd name="connsiteX6" fmla="*/ 7078802 w 7463692"/>
              <a:gd name="connsiteY6" fmla="*/ 338982 h 6858000"/>
              <a:gd name="connsiteX7" fmla="*/ 7078802 w 7463692"/>
              <a:gd name="connsiteY7" fmla="*/ 530746 h 6858000"/>
              <a:gd name="connsiteX8" fmla="*/ 6973155 w 7463692"/>
              <a:gd name="connsiteY8" fmla="*/ 530746 h 6858000"/>
              <a:gd name="connsiteX9" fmla="*/ 6909390 w 7463692"/>
              <a:gd name="connsiteY9" fmla="*/ 492629 h 6858000"/>
              <a:gd name="connsiteX10" fmla="*/ 6909390 w 7463692"/>
              <a:gd name="connsiteY10" fmla="*/ 432864 h 6858000"/>
              <a:gd name="connsiteX11" fmla="*/ 6909390 w 7463692"/>
              <a:gd name="connsiteY11" fmla="*/ 383688 h 6858000"/>
              <a:gd name="connsiteX12" fmla="*/ 6975273 w 7463692"/>
              <a:gd name="connsiteY12" fmla="*/ 338982 h 6858000"/>
              <a:gd name="connsiteX13" fmla="*/ 6957861 w 7463692"/>
              <a:gd name="connsiteY13" fmla="*/ 296864 h 6858000"/>
              <a:gd name="connsiteX14" fmla="*/ 6883978 w 7463692"/>
              <a:gd name="connsiteY14" fmla="*/ 313805 h 6858000"/>
              <a:gd name="connsiteX15" fmla="*/ 6858096 w 7463692"/>
              <a:gd name="connsiteY15" fmla="*/ 384393 h 6858000"/>
              <a:gd name="connsiteX16" fmla="*/ 6858096 w 7463692"/>
              <a:gd name="connsiteY16" fmla="*/ 483923 h 6858000"/>
              <a:gd name="connsiteX17" fmla="*/ 6885625 w 7463692"/>
              <a:gd name="connsiteY17" fmla="*/ 558276 h 6858000"/>
              <a:gd name="connsiteX18" fmla="*/ 6958096 w 7463692"/>
              <a:gd name="connsiteY18" fmla="*/ 572629 h 6858000"/>
              <a:gd name="connsiteX19" fmla="*/ 7078802 w 7463692"/>
              <a:gd name="connsiteY19" fmla="*/ 572629 h 6858000"/>
              <a:gd name="connsiteX20" fmla="*/ 7078802 w 7463692"/>
              <a:gd name="connsiteY20" fmla="*/ 583217 h 6858000"/>
              <a:gd name="connsiteX21" fmla="*/ 7050802 w 7463692"/>
              <a:gd name="connsiteY21" fmla="*/ 613099 h 6858000"/>
              <a:gd name="connsiteX22" fmla="*/ 6893390 w 7463692"/>
              <a:gd name="connsiteY22" fmla="*/ 613099 h 6858000"/>
              <a:gd name="connsiteX23" fmla="*/ 6893390 w 7463692"/>
              <a:gd name="connsiteY23" fmla="*/ 657335 h 6858000"/>
              <a:gd name="connsiteX24" fmla="*/ 7067037 w 7463692"/>
              <a:gd name="connsiteY24" fmla="*/ 657335 h 6858000"/>
              <a:gd name="connsiteX25" fmla="*/ 7128920 w 7463692"/>
              <a:gd name="connsiteY25" fmla="*/ 597099 h 6858000"/>
              <a:gd name="connsiteX26" fmla="*/ 7128920 w 7463692"/>
              <a:gd name="connsiteY26" fmla="*/ 296864 h 6858000"/>
              <a:gd name="connsiteX27" fmla="*/ 6623273 w 7463692"/>
              <a:gd name="connsiteY27" fmla="*/ 296864 h 6858000"/>
              <a:gd name="connsiteX28" fmla="*/ 6552449 w 7463692"/>
              <a:gd name="connsiteY28" fmla="*/ 373335 h 6858000"/>
              <a:gd name="connsiteX29" fmla="*/ 6619743 w 7463692"/>
              <a:gd name="connsiteY29" fmla="*/ 452864 h 6858000"/>
              <a:gd name="connsiteX30" fmla="*/ 6739508 w 7463692"/>
              <a:gd name="connsiteY30" fmla="*/ 452864 h 6858000"/>
              <a:gd name="connsiteX31" fmla="*/ 6776214 w 7463692"/>
              <a:gd name="connsiteY31" fmla="*/ 494040 h 6858000"/>
              <a:gd name="connsiteX32" fmla="*/ 6740449 w 7463692"/>
              <a:gd name="connsiteY32" fmla="*/ 530746 h 6858000"/>
              <a:gd name="connsiteX33" fmla="*/ 6557155 w 7463692"/>
              <a:gd name="connsiteY33" fmla="*/ 530746 h 6858000"/>
              <a:gd name="connsiteX34" fmla="*/ 6557155 w 7463692"/>
              <a:gd name="connsiteY34" fmla="*/ 572864 h 6858000"/>
              <a:gd name="connsiteX35" fmla="*/ 6761626 w 7463692"/>
              <a:gd name="connsiteY35" fmla="*/ 572864 h 6858000"/>
              <a:gd name="connsiteX36" fmla="*/ 6827273 w 7463692"/>
              <a:gd name="connsiteY36" fmla="*/ 494511 h 6858000"/>
              <a:gd name="connsiteX37" fmla="*/ 6764920 w 7463692"/>
              <a:gd name="connsiteY37" fmla="*/ 411217 h 6858000"/>
              <a:gd name="connsiteX38" fmla="*/ 6635508 w 7463692"/>
              <a:gd name="connsiteY38" fmla="*/ 411217 h 6858000"/>
              <a:gd name="connsiteX39" fmla="*/ 6602802 w 7463692"/>
              <a:gd name="connsiteY39" fmla="*/ 374511 h 6858000"/>
              <a:gd name="connsiteX40" fmla="*/ 6640920 w 7463692"/>
              <a:gd name="connsiteY40" fmla="*/ 338982 h 6858000"/>
              <a:gd name="connsiteX41" fmla="*/ 6817626 w 7463692"/>
              <a:gd name="connsiteY41" fmla="*/ 338982 h 6858000"/>
              <a:gd name="connsiteX42" fmla="*/ 6817626 w 7463692"/>
              <a:gd name="connsiteY42" fmla="*/ 297099 h 6858000"/>
              <a:gd name="connsiteX43" fmla="*/ 6135037 w 7463692"/>
              <a:gd name="connsiteY43" fmla="*/ 296864 h 6858000"/>
              <a:gd name="connsiteX44" fmla="*/ 6135037 w 7463692"/>
              <a:gd name="connsiteY44" fmla="*/ 572629 h 6858000"/>
              <a:gd name="connsiteX45" fmla="*/ 6185390 w 7463692"/>
              <a:gd name="connsiteY45" fmla="*/ 572629 h 6858000"/>
              <a:gd name="connsiteX46" fmla="*/ 6185390 w 7463692"/>
              <a:gd name="connsiteY46" fmla="*/ 338746 h 6858000"/>
              <a:gd name="connsiteX47" fmla="*/ 6300684 w 7463692"/>
              <a:gd name="connsiteY47" fmla="*/ 338746 h 6858000"/>
              <a:gd name="connsiteX48" fmla="*/ 6300684 w 7463692"/>
              <a:gd name="connsiteY48" fmla="*/ 572629 h 6858000"/>
              <a:gd name="connsiteX49" fmla="*/ 6351272 w 7463692"/>
              <a:gd name="connsiteY49" fmla="*/ 572629 h 6858000"/>
              <a:gd name="connsiteX50" fmla="*/ 6351272 w 7463692"/>
              <a:gd name="connsiteY50" fmla="*/ 338746 h 6858000"/>
              <a:gd name="connsiteX51" fmla="*/ 6427978 w 7463692"/>
              <a:gd name="connsiteY51" fmla="*/ 338746 h 6858000"/>
              <a:gd name="connsiteX52" fmla="*/ 6472214 w 7463692"/>
              <a:gd name="connsiteY52" fmla="*/ 387923 h 6858000"/>
              <a:gd name="connsiteX53" fmla="*/ 6472214 w 7463692"/>
              <a:gd name="connsiteY53" fmla="*/ 572629 h 6858000"/>
              <a:gd name="connsiteX54" fmla="*/ 6522567 w 7463692"/>
              <a:gd name="connsiteY54" fmla="*/ 572629 h 6858000"/>
              <a:gd name="connsiteX55" fmla="*/ 6522567 w 7463692"/>
              <a:gd name="connsiteY55" fmla="*/ 374040 h 6858000"/>
              <a:gd name="connsiteX56" fmla="*/ 6453390 w 7463692"/>
              <a:gd name="connsiteY56" fmla="*/ 296864 h 6858000"/>
              <a:gd name="connsiteX57" fmla="*/ 0 w 7463692"/>
              <a:gd name="connsiteY57" fmla="*/ 0 h 6858000"/>
              <a:gd name="connsiteX58" fmla="*/ 72289 w 7463692"/>
              <a:gd name="connsiteY58" fmla="*/ 0 h 6858000"/>
              <a:gd name="connsiteX59" fmla="*/ 2753286 w 7463692"/>
              <a:gd name="connsiteY59" fmla="*/ 0 h 6858000"/>
              <a:gd name="connsiteX60" fmla="*/ 7463692 w 7463692"/>
              <a:gd name="connsiteY60" fmla="*/ 0 h 6858000"/>
              <a:gd name="connsiteX61" fmla="*/ 7463692 w 7463692"/>
              <a:gd name="connsiteY61" fmla="*/ 6858000 h 6858000"/>
              <a:gd name="connsiteX62" fmla="*/ 2753286 w 7463692"/>
              <a:gd name="connsiteY62" fmla="*/ 6858000 h 6858000"/>
              <a:gd name="connsiteX63" fmla="*/ 427029 w 7463692"/>
              <a:gd name="connsiteY63" fmla="*/ 6858000 h 6858000"/>
              <a:gd name="connsiteX64" fmla="*/ 404158 w 7463692"/>
              <a:gd name="connsiteY64" fmla="*/ 6858000 h 6858000"/>
              <a:gd name="connsiteX65" fmla="*/ 415213 w 7463692"/>
              <a:gd name="connsiteY65" fmla="*/ 6841604 h 6858000"/>
              <a:gd name="connsiteX66" fmla="*/ 432029 w 7463692"/>
              <a:gd name="connsiteY66" fmla="*/ 6758309 h 6858000"/>
              <a:gd name="connsiteX67" fmla="*/ 432029 w 7463692"/>
              <a:gd name="connsiteY67" fmla="*/ 2203207 h 6858000"/>
              <a:gd name="connsiteX68" fmla="*/ 218039 w 7463692"/>
              <a:gd name="connsiteY68" fmla="*/ 1989217 h 6858000"/>
              <a:gd name="connsiteX69" fmla="*/ 0 w 7463692"/>
              <a:gd name="connsiteY69" fmla="*/ 198921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463692" h="6858000">
                <a:moveTo>
                  <a:pt x="6036214" y="454511"/>
                </a:moveTo>
                <a:cubicBezTo>
                  <a:pt x="6003038" y="454511"/>
                  <a:pt x="5976214" y="481335"/>
                  <a:pt x="5976214" y="514511"/>
                </a:cubicBezTo>
                <a:cubicBezTo>
                  <a:pt x="5976214" y="547687"/>
                  <a:pt x="6003038" y="574511"/>
                  <a:pt x="6036214" y="574511"/>
                </a:cubicBezTo>
                <a:cubicBezTo>
                  <a:pt x="6069391" y="574511"/>
                  <a:pt x="6096214" y="547687"/>
                  <a:pt x="6096214" y="514511"/>
                </a:cubicBezTo>
                <a:cubicBezTo>
                  <a:pt x="6096214" y="481335"/>
                  <a:pt x="6069391" y="454511"/>
                  <a:pt x="6036214" y="454511"/>
                </a:cubicBezTo>
                <a:close/>
                <a:moveTo>
                  <a:pt x="6975273" y="338982"/>
                </a:moveTo>
                <a:lnTo>
                  <a:pt x="7078802" y="338982"/>
                </a:lnTo>
                <a:lnTo>
                  <a:pt x="7078802" y="530746"/>
                </a:lnTo>
                <a:lnTo>
                  <a:pt x="6973155" y="530746"/>
                </a:lnTo>
                <a:cubicBezTo>
                  <a:pt x="6941861" y="530982"/>
                  <a:pt x="6910331" y="533099"/>
                  <a:pt x="6909390" y="492629"/>
                </a:cubicBezTo>
                <a:cubicBezTo>
                  <a:pt x="6909390" y="490982"/>
                  <a:pt x="6909155" y="476158"/>
                  <a:pt x="6909390" y="432864"/>
                </a:cubicBezTo>
                <a:cubicBezTo>
                  <a:pt x="6909626" y="396158"/>
                  <a:pt x="6909155" y="387452"/>
                  <a:pt x="6909390" y="383688"/>
                </a:cubicBezTo>
                <a:cubicBezTo>
                  <a:pt x="6911037" y="349805"/>
                  <a:pt x="6923508" y="337805"/>
                  <a:pt x="6975273" y="338982"/>
                </a:cubicBezTo>
                <a:close/>
                <a:moveTo>
                  <a:pt x="6957861" y="296864"/>
                </a:moveTo>
                <a:cubicBezTo>
                  <a:pt x="6912920" y="296864"/>
                  <a:pt x="6896214" y="303923"/>
                  <a:pt x="6883978" y="313805"/>
                </a:cubicBezTo>
                <a:cubicBezTo>
                  <a:pt x="6870567" y="324629"/>
                  <a:pt x="6858331" y="338040"/>
                  <a:pt x="6858096" y="384393"/>
                </a:cubicBezTo>
                <a:lnTo>
                  <a:pt x="6858096" y="483923"/>
                </a:lnTo>
                <a:cubicBezTo>
                  <a:pt x="6858096" y="532864"/>
                  <a:pt x="6871743" y="546746"/>
                  <a:pt x="6885625" y="558276"/>
                </a:cubicBezTo>
                <a:cubicBezTo>
                  <a:pt x="6895037" y="564864"/>
                  <a:pt x="6910567" y="572629"/>
                  <a:pt x="6958096" y="572629"/>
                </a:cubicBezTo>
                <a:lnTo>
                  <a:pt x="7078802" y="572629"/>
                </a:lnTo>
                <a:lnTo>
                  <a:pt x="7078802" y="583217"/>
                </a:lnTo>
                <a:cubicBezTo>
                  <a:pt x="7078802" y="604158"/>
                  <a:pt x="7074802" y="613099"/>
                  <a:pt x="7050802" y="613099"/>
                </a:cubicBezTo>
                <a:lnTo>
                  <a:pt x="6893390" y="613099"/>
                </a:lnTo>
                <a:lnTo>
                  <a:pt x="6893390" y="657335"/>
                </a:lnTo>
                <a:lnTo>
                  <a:pt x="7067037" y="657335"/>
                </a:lnTo>
                <a:cubicBezTo>
                  <a:pt x="7113861" y="657335"/>
                  <a:pt x="7128920" y="636393"/>
                  <a:pt x="7128920" y="597099"/>
                </a:cubicBezTo>
                <a:lnTo>
                  <a:pt x="7128920" y="296864"/>
                </a:lnTo>
                <a:close/>
                <a:moveTo>
                  <a:pt x="6623273" y="296864"/>
                </a:moveTo>
                <a:cubicBezTo>
                  <a:pt x="6568920" y="296864"/>
                  <a:pt x="6552449" y="333099"/>
                  <a:pt x="6552449" y="373335"/>
                </a:cubicBezTo>
                <a:cubicBezTo>
                  <a:pt x="6552449" y="416629"/>
                  <a:pt x="6570331" y="452864"/>
                  <a:pt x="6619743" y="452864"/>
                </a:cubicBezTo>
                <a:lnTo>
                  <a:pt x="6739508" y="452864"/>
                </a:lnTo>
                <a:cubicBezTo>
                  <a:pt x="6776214" y="452864"/>
                  <a:pt x="6776214" y="481099"/>
                  <a:pt x="6776214" y="494040"/>
                </a:cubicBezTo>
                <a:cubicBezTo>
                  <a:pt x="6776214" y="506040"/>
                  <a:pt x="6776214" y="530746"/>
                  <a:pt x="6740449" y="530746"/>
                </a:cubicBezTo>
                <a:lnTo>
                  <a:pt x="6557155" y="530746"/>
                </a:lnTo>
                <a:lnTo>
                  <a:pt x="6557155" y="572864"/>
                </a:lnTo>
                <a:lnTo>
                  <a:pt x="6761626" y="572864"/>
                </a:lnTo>
                <a:cubicBezTo>
                  <a:pt x="6812685" y="572864"/>
                  <a:pt x="6827273" y="542982"/>
                  <a:pt x="6827273" y="494511"/>
                </a:cubicBezTo>
                <a:cubicBezTo>
                  <a:pt x="6827273" y="436864"/>
                  <a:pt x="6808449" y="411217"/>
                  <a:pt x="6764920" y="411217"/>
                </a:cubicBezTo>
                <a:lnTo>
                  <a:pt x="6635508" y="411217"/>
                </a:lnTo>
                <a:cubicBezTo>
                  <a:pt x="6602802" y="411217"/>
                  <a:pt x="6602802" y="389099"/>
                  <a:pt x="6602802" y="374511"/>
                </a:cubicBezTo>
                <a:cubicBezTo>
                  <a:pt x="6602802" y="362982"/>
                  <a:pt x="6606096" y="338982"/>
                  <a:pt x="6640920" y="338982"/>
                </a:cubicBezTo>
                <a:lnTo>
                  <a:pt x="6817626" y="338982"/>
                </a:lnTo>
                <a:lnTo>
                  <a:pt x="6817626" y="297099"/>
                </a:lnTo>
                <a:close/>
                <a:moveTo>
                  <a:pt x="6135037" y="296864"/>
                </a:moveTo>
                <a:lnTo>
                  <a:pt x="6135037" y="572629"/>
                </a:lnTo>
                <a:lnTo>
                  <a:pt x="6185390" y="572629"/>
                </a:lnTo>
                <a:lnTo>
                  <a:pt x="6185390" y="338746"/>
                </a:lnTo>
                <a:lnTo>
                  <a:pt x="6300684" y="338746"/>
                </a:lnTo>
                <a:lnTo>
                  <a:pt x="6300684" y="572629"/>
                </a:lnTo>
                <a:lnTo>
                  <a:pt x="6351272" y="572629"/>
                </a:lnTo>
                <a:lnTo>
                  <a:pt x="6351272" y="338746"/>
                </a:lnTo>
                <a:lnTo>
                  <a:pt x="6427978" y="338746"/>
                </a:lnTo>
                <a:cubicBezTo>
                  <a:pt x="6453861" y="338746"/>
                  <a:pt x="6472214" y="354276"/>
                  <a:pt x="6472214" y="387923"/>
                </a:cubicBezTo>
                <a:lnTo>
                  <a:pt x="6472214" y="572629"/>
                </a:lnTo>
                <a:lnTo>
                  <a:pt x="6522567" y="572629"/>
                </a:lnTo>
                <a:lnTo>
                  <a:pt x="6522567" y="374040"/>
                </a:lnTo>
                <a:cubicBezTo>
                  <a:pt x="6522567" y="336393"/>
                  <a:pt x="6503273" y="296864"/>
                  <a:pt x="6453390" y="296864"/>
                </a:cubicBezTo>
                <a:close/>
                <a:moveTo>
                  <a:pt x="0" y="0"/>
                </a:moveTo>
                <a:lnTo>
                  <a:pt x="72289" y="0"/>
                </a:lnTo>
                <a:lnTo>
                  <a:pt x="2753286" y="0"/>
                </a:lnTo>
                <a:lnTo>
                  <a:pt x="7463692" y="0"/>
                </a:lnTo>
                <a:lnTo>
                  <a:pt x="7463692" y="6858000"/>
                </a:lnTo>
                <a:lnTo>
                  <a:pt x="2753286" y="6858000"/>
                </a:lnTo>
                <a:lnTo>
                  <a:pt x="427029" y="6858000"/>
                </a:lnTo>
                <a:lnTo>
                  <a:pt x="404158" y="6858000"/>
                </a:lnTo>
                <a:lnTo>
                  <a:pt x="415213" y="6841604"/>
                </a:lnTo>
                <a:cubicBezTo>
                  <a:pt x="426041" y="6816002"/>
                  <a:pt x="432029" y="6787855"/>
                  <a:pt x="432029" y="6758309"/>
                </a:cubicBezTo>
                <a:lnTo>
                  <a:pt x="432029" y="2203207"/>
                </a:lnTo>
                <a:cubicBezTo>
                  <a:pt x="432029" y="2085024"/>
                  <a:pt x="336222" y="1989217"/>
                  <a:pt x="218039" y="1989217"/>
                </a:cubicBezTo>
                <a:lnTo>
                  <a:pt x="0" y="1989217"/>
                </a:lnTo>
                <a:close/>
              </a:path>
            </a:pathLst>
          </a:custGeom>
          <a:solidFill>
            <a:schemeClr val="bg2"/>
          </a:solidFill>
        </p:spPr>
        <p:txBody>
          <a:bodyPr wrap="square">
            <a:noAutofit/>
          </a:bodyPr>
          <a:lstStyle/>
          <a:p>
            <a:r>
              <a:rPr lang="de-DE"/>
              <a:t>Bild durch Klicken auf Symbol hinzufügen</a:t>
            </a:r>
          </a:p>
        </p:txBody>
      </p:sp>
      <p:sp>
        <p:nvSpPr>
          <p:cNvPr id="30" name="Textplatzhalter Kapitelnummer">
            <a:extLst>
              <a:ext uri="{FF2B5EF4-FFF2-40B4-BE49-F238E27FC236}">
                <a16:creationId xmlns:a16="http://schemas.microsoft.com/office/drawing/2014/main" id="{15D7F58E-36BA-9C1C-CCD4-7D67906B7F73}"/>
              </a:ext>
            </a:extLst>
          </p:cNvPr>
          <p:cNvSpPr>
            <a:spLocks noGrp="1"/>
          </p:cNvSpPr>
          <p:nvPr>
            <p:ph type="body" sz="quarter" idx="14" hasCustomPrompt="1"/>
          </p:nvPr>
        </p:nvSpPr>
        <p:spPr bwMode="gray">
          <a:xfrm>
            <a:off x="623888" y="1336675"/>
            <a:ext cx="432000" cy="432000"/>
          </a:xfrm>
          <a:prstGeom prst="ellipse">
            <a:avLst/>
          </a:prstGeom>
          <a:solidFill>
            <a:schemeClr val="accent1"/>
          </a:solidFill>
        </p:spPr>
        <p:txBody>
          <a:bodyPr anchor="ctr"/>
          <a:lstStyle>
            <a:lvl1pPr algn="ctr">
              <a:defRPr sz="1600" b="1">
                <a:solidFill>
                  <a:schemeClr val="bg1"/>
                </a:solidFill>
                <a:latin typeface="+mj-lt"/>
              </a:defRPr>
            </a:lvl1pPr>
          </a:lstStyle>
          <a:p>
            <a:pPr lvl="0"/>
            <a:r>
              <a:rPr lang="de-DE"/>
              <a:t>00</a:t>
            </a:r>
          </a:p>
        </p:txBody>
      </p:sp>
      <p:sp>
        <p:nvSpPr>
          <p:cNvPr id="2" name="Textplatzhalter Titel">
            <a:extLst>
              <a:ext uri="{FF2B5EF4-FFF2-40B4-BE49-F238E27FC236}">
                <a16:creationId xmlns:a16="http://schemas.microsoft.com/office/drawing/2014/main" id="{B545046E-39AA-5646-D331-802F7889BAA8}"/>
              </a:ext>
            </a:extLst>
          </p:cNvPr>
          <p:cNvSpPr>
            <a:spLocks noGrp="1"/>
          </p:cNvSpPr>
          <p:nvPr>
            <p:ph type="title"/>
          </p:nvPr>
        </p:nvSpPr>
        <p:spPr bwMode="gray">
          <a:xfrm>
            <a:off x="623887" y="1991397"/>
            <a:ext cx="3888391" cy="1077708"/>
          </a:xfrm>
        </p:spPr>
        <p:txBody>
          <a:bodyPr vert="horz" lIns="0" tIns="0" rIns="0" bIns="0" anchor="t">
            <a:noAutofit/>
          </a:bodyPr>
          <a:lstStyle>
            <a:lvl1pPr rtl="0">
              <a:lnSpc>
                <a:spcPct val="100000"/>
              </a:lnSpc>
              <a:spcAft>
                <a:spcPts val="600"/>
              </a:spcAft>
              <a:defRPr sz="3600">
                <a:solidFill>
                  <a:schemeClr val="accent1"/>
                </a:solidFill>
              </a:defRPr>
            </a:lvl1pPr>
          </a:lstStyle>
          <a:p>
            <a:r>
              <a:rPr lang="de-DE"/>
              <a:t>Mastertitelformat bearbeiten</a:t>
            </a:r>
            <a:endParaRPr lang="de-DE" dirty="0"/>
          </a:p>
        </p:txBody>
      </p:sp>
      <p:sp>
        <p:nvSpPr>
          <p:cNvPr id="19" name="Textplatzhalter Subtitle">
            <a:extLst>
              <a:ext uri="{FF2B5EF4-FFF2-40B4-BE49-F238E27FC236}">
                <a16:creationId xmlns:a16="http://schemas.microsoft.com/office/drawing/2014/main" id="{FB0D230E-B4C4-0E0C-7917-9588404DD9A0}"/>
              </a:ext>
            </a:extLst>
          </p:cNvPr>
          <p:cNvSpPr>
            <a:spLocks noGrp="1"/>
          </p:cNvSpPr>
          <p:nvPr>
            <p:ph type="body" sz="quarter" idx="12" hasCustomPrompt="1"/>
          </p:nvPr>
        </p:nvSpPr>
        <p:spPr bwMode="gray">
          <a:xfrm>
            <a:off x="623887" y="3292353"/>
            <a:ext cx="3888391" cy="424690"/>
          </a:xfrm>
          <a:noFill/>
        </p:spPr>
        <p:txBody>
          <a:bodyPr wrap="square" lIns="0" tIns="0" rIns="0" bIns="0" anchor="t">
            <a:noAutofit/>
          </a:bodyPr>
          <a:lstStyle>
            <a:lvl1pPr rtl="0">
              <a:defRPr sz="2000" b="0">
                <a:solidFill>
                  <a:schemeClr val="tx1"/>
                </a:solidFill>
              </a:defRPr>
            </a:lvl1pPr>
          </a:lstStyle>
          <a:p>
            <a:pPr lvl="0"/>
            <a:r>
              <a:rPr lang="de-DE" dirty="0" err="1"/>
              <a:t>Subtitle</a:t>
            </a:r>
            <a:r>
              <a:rPr lang="de-DE" dirty="0"/>
              <a:t> einfügen</a:t>
            </a:r>
          </a:p>
        </p:txBody>
      </p:sp>
      <p:sp>
        <p:nvSpPr>
          <p:cNvPr id="192" name="Fußzeilenplatzhalter">
            <a:extLst>
              <a:ext uri="{FF2B5EF4-FFF2-40B4-BE49-F238E27FC236}">
                <a16:creationId xmlns:a16="http://schemas.microsoft.com/office/drawing/2014/main" id="{4CC5C821-AB6C-4244-5ABE-4CEAB02BE5B0}"/>
              </a:ext>
            </a:extLst>
          </p:cNvPr>
          <p:cNvSpPr>
            <a:spLocks noGrp="1"/>
          </p:cNvSpPr>
          <p:nvPr>
            <p:ph type="ftr" sz="quarter" idx="15"/>
          </p:nvPr>
        </p:nvSpPr>
        <p:spPr>
          <a:xfrm>
            <a:off x="1271955" y="6443762"/>
            <a:ext cx="3671948" cy="153888"/>
          </a:xfrm>
        </p:spPr>
        <p:txBody>
          <a:bodyPr/>
          <a:lstStyle/>
          <a:p>
            <a:endParaRPr lang="en-US"/>
          </a:p>
        </p:txBody>
      </p:sp>
      <p:sp>
        <p:nvSpPr>
          <p:cNvPr id="193" name="Foliennummernplatzhalter">
            <a:extLst>
              <a:ext uri="{FF2B5EF4-FFF2-40B4-BE49-F238E27FC236}">
                <a16:creationId xmlns:a16="http://schemas.microsoft.com/office/drawing/2014/main" id="{6D38364E-5AE9-7D62-E8EA-838585EB2222}"/>
              </a:ext>
            </a:extLst>
          </p:cNvPr>
          <p:cNvSpPr>
            <a:spLocks noGrp="1"/>
          </p:cNvSpPr>
          <p:nvPr>
            <p:ph type="sldNum" sz="quarter" idx="16"/>
          </p:nvPr>
        </p:nvSpPr>
        <p:spPr/>
        <p:txBody>
          <a:bodyPr/>
          <a:lstStyle/>
          <a:p>
            <a:fld id="{C7D046C8-03B9-4997-9490-81EAE2ED7C49}" type="slidenum">
              <a:rPr lang="en-US" smtClean="0"/>
              <a:t>‹Nr.›</a:t>
            </a:fld>
            <a:endParaRPr lang="en-US"/>
          </a:p>
        </p:txBody>
      </p:sp>
      <p:grpSp>
        <p:nvGrpSpPr>
          <p:cNvPr id="51" name="Gruppieren 50">
            <a:extLst>
              <a:ext uri="{FF2B5EF4-FFF2-40B4-BE49-F238E27FC236}">
                <a16:creationId xmlns:a16="http://schemas.microsoft.com/office/drawing/2014/main" id="{D30454BE-5DD4-6C5C-9B16-5C47ACF1A8DA}"/>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09748565-9A17-43EF-EB89-D4A0B74B57E3}"/>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86B1E96-9338-B5E0-77FA-C470E0504B2E}"/>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23AEFC0B-3357-8281-ECC6-905453CCD4B3}"/>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79A76A7A-4A89-29AA-6E90-B4DF8A96366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D2B29119-661E-C7A4-D412-2008CFAA8B2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6" name="Gruppieren 195">
            <a:extLst>
              <a:ext uri="{FF2B5EF4-FFF2-40B4-BE49-F238E27FC236}">
                <a16:creationId xmlns:a16="http://schemas.microsoft.com/office/drawing/2014/main" id="{B2DF044B-E3D3-4AC6-BB8C-4A94EAA0A309}"/>
              </a:ext>
              <a:ext uri="{C183D7F6-B498-43B3-948B-1728B52AA6E4}">
                <adec:decorative xmlns:adec="http://schemas.microsoft.com/office/drawing/2017/decorative" val="1"/>
              </a:ext>
            </a:extLst>
          </p:cNvPr>
          <p:cNvGrpSpPr/>
          <p:nvPr/>
        </p:nvGrpSpPr>
        <p:grpSpPr bwMode="gray">
          <a:xfrm>
            <a:off x="-254000" y="296863"/>
            <a:ext cx="144000" cy="6300787"/>
            <a:chOff x="0" y="296863"/>
            <a:chExt cx="12192000" cy="6300787"/>
          </a:xfrm>
        </p:grpSpPr>
        <p:cxnSp>
          <p:nvCxnSpPr>
            <p:cNvPr id="197" name="Gerader Verbinder 196">
              <a:extLst>
                <a:ext uri="{FF2B5EF4-FFF2-40B4-BE49-F238E27FC236}">
                  <a16:creationId xmlns:a16="http://schemas.microsoft.com/office/drawing/2014/main" id="{A8D6AE26-6C3B-A1F5-CFB1-222C89F1B97A}"/>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695AC01D-45B0-0B0C-ABC7-05769A5BC19B}"/>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C1DE09D3-C134-66E7-37B4-B6574BCB9936}"/>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38057F2B-30FB-F611-74D6-A8CCB13F8AF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8FD79B80-2C2B-2A37-BAE6-9A4560CC2210}"/>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B29EBAF0-F2F1-01FD-0169-23CC6A456A45}"/>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8ABE2352-A5E5-5EF6-21C0-DAF60287AAA1}"/>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4" name="Gruppieren 203">
            <a:extLst>
              <a:ext uri="{FF2B5EF4-FFF2-40B4-BE49-F238E27FC236}">
                <a16:creationId xmlns:a16="http://schemas.microsoft.com/office/drawing/2014/main" id="{F4883AD6-9AF7-5A09-4F0B-02F59FFCE285}"/>
              </a:ext>
              <a:ext uri="{C183D7F6-B498-43B3-948B-1728B52AA6E4}">
                <adec:decorative xmlns:adec="http://schemas.microsoft.com/office/drawing/2017/decorative" val="1"/>
              </a:ext>
            </a:extLst>
          </p:cNvPr>
          <p:cNvGrpSpPr/>
          <p:nvPr/>
        </p:nvGrpSpPr>
        <p:grpSpPr bwMode="gray">
          <a:xfrm>
            <a:off x="12301940" y="296863"/>
            <a:ext cx="144000" cy="6300787"/>
            <a:chOff x="0" y="296863"/>
            <a:chExt cx="12192000" cy="6300787"/>
          </a:xfrm>
        </p:grpSpPr>
        <p:cxnSp>
          <p:nvCxnSpPr>
            <p:cNvPr id="205" name="Gerader Verbinder 204">
              <a:extLst>
                <a:ext uri="{FF2B5EF4-FFF2-40B4-BE49-F238E27FC236}">
                  <a16:creationId xmlns:a16="http://schemas.microsoft.com/office/drawing/2014/main" id="{13DC920E-093A-F9EC-59F6-6F19CC93A972}"/>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2CD9FB50-5ADF-675B-B994-5DACA6BF0E17}"/>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1993A5D7-FC4A-CC9E-5A54-9D07B996AA7B}"/>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22E90637-7306-39C2-2EFF-4255ACCF24AA}"/>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7BA25234-23B8-4618-3F9D-2084E7BAE40F}"/>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0" name="Gerader Verbinder 209">
              <a:extLst>
                <a:ext uri="{FF2B5EF4-FFF2-40B4-BE49-F238E27FC236}">
                  <a16:creationId xmlns:a16="http://schemas.microsoft.com/office/drawing/2014/main" id="{7E4E59E6-EEF3-A2EC-0FCD-A4E442F2E476}"/>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1" name="Gerader Verbinder 210">
              <a:extLst>
                <a:ext uri="{FF2B5EF4-FFF2-40B4-BE49-F238E27FC236}">
                  <a16:creationId xmlns:a16="http://schemas.microsoft.com/office/drawing/2014/main" id="{818146FD-9F3D-F16E-D2DF-ABD0C683C671}"/>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40648259"/>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Kapitel 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5D1E776-3F94-A5E4-A48A-3D2EF966C59D}"/>
              </a:ext>
            </a:extLst>
          </p:cNvPr>
          <p:cNvGraphicFramePr>
            <a:graphicFrameLocks noChangeAspect="1"/>
          </p:cNvGraphicFramePr>
          <p:nvPr>
            <p:custDataLst>
              <p:tags r:id="rId1"/>
            </p:custDataLst>
            <p:extLst>
              <p:ext uri="{D42A27DB-BD31-4B8C-83A1-F6EECF244321}">
                <p14:modId xmlns:p14="http://schemas.microsoft.com/office/powerpoint/2010/main" val="1597553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E5D1E776-3F94-A5E4-A48A-3D2EF966C5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descr="Bild füllt die komplette Folie aus, im unteren Bereich Kapitelnummer, Titel und Untertitel, Bild ist änderbar.">
            <a:extLst>
              <a:ext uri="{FF2B5EF4-FFF2-40B4-BE49-F238E27FC236}">
                <a16:creationId xmlns:a16="http://schemas.microsoft.com/office/drawing/2014/main" id="{E2E72487-DC5F-3D9B-6063-5D7F49143C4A}"/>
              </a:ext>
              <a:ext uri="{C183D7F6-B498-43B3-948B-1728B52AA6E4}">
                <adec:decorative xmlns:adec="http://schemas.microsoft.com/office/drawing/2017/decorative" val="0"/>
              </a:ext>
            </a:extLst>
          </p:cNvPr>
          <p:cNvSpPr>
            <a:spLocks noGrp="1"/>
          </p:cNvSpPr>
          <p:nvPr>
            <p:ph type="pic" sz="quarter" idx="13"/>
          </p:nvPr>
        </p:nvSpPr>
        <p:spPr bwMode="gray">
          <a:xfrm>
            <a:off x="1" y="0"/>
            <a:ext cx="12191998" cy="6858000"/>
          </a:xfrm>
          <a:custGeom>
            <a:avLst/>
            <a:gdLst>
              <a:gd name="connsiteX0" fmla="*/ 10764520 w 12191998"/>
              <a:gd name="connsiteY0" fmla="*/ 454511 h 6858000"/>
              <a:gd name="connsiteX1" fmla="*/ 10704520 w 12191998"/>
              <a:gd name="connsiteY1" fmla="*/ 514511 h 6858000"/>
              <a:gd name="connsiteX2" fmla="*/ 10764520 w 12191998"/>
              <a:gd name="connsiteY2" fmla="*/ 574511 h 6858000"/>
              <a:gd name="connsiteX3" fmla="*/ 10824520 w 12191998"/>
              <a:gd name="connsiteY3" fmla="*/ 514511 h 6858000"/>
              <a:gd name="connsiteX4" fmla="*/ 10764520 w 12191998"/>
              <a:gd name="connsiteY4" fmla="*/ 454511 h 6858000"/>
              <a:gd name="connsiteX5" fmla="*/ 11703579 w 12191998"/>
              <a:gd name="connsiteY5" fmla="*/ 338982 h 6858000"/>
              <a:gd name="connsiteX6" fmla="*/ 11807108 w 12191998"/>
              <a:gd name="connsiteY6" fmla="*/ 338982 h 6858000"/>
              <a:gd name="connsiteX7" fmla="*/ 11807108 w 12191998"/>
              <a:gd name="connsiteY7" fmla="*/ 530746 h 6858000"/>
              <a:gd name="connsiteX8" fmla="*/ 11701461 w 12191998"/>
              <a:gd name="connsiteY8" fmla="*/ 530746 h 6858000"/>
              <a:gd name="connsiteX9" fmla="*/ 11637696 w 12191998"/>
              <a:gd name="connsiteY9" fmla="*/ 492629 h 6858000"/>
              <a:gd name="connsiteX10" fmla="*/ 11637696 w 12191998"/>
              <a:gd name="connsiteY10" fmla="*/ 432864 h 6858000"/>
              <a:gd name="connsiteX11" fmla="*/ 11637696 w 12191998"/>
              <a:gd name="connsiteY11" fmla="*/ 383688 h 6858000"/>
              <a:gd name="connsiteX12" fmla="*/ 11703579 w 12191998"/>
              <a:gd name="connsiteY12" fmla="*/ 338982 h 6858000"/>
              <a:gd name="connsiteX13" fmla="*/ 10863343 w 12191998"/>
              <a:gd name="connsiteY13" fmla="*/ 296864 h 6858000"/>
              <a:gd name="connsiteX14" fmla="*/ 10863343 w 12191998"/>
              <a:gd name="connsiteY14" fmla="*/ 572629 h 6858000"/>
              <a:gd name="connsiteX15" fmla="*/ 10913696 w 12191998"/>
              <a:gd name="connsiteY15" fmla="*/ 572629 h 6858000"/>
              <a:gd name="connsiteX16" fmla="*/ 10913696 w 12191998"/>
              <a:gd name="connsiteY16" fmla="*/ 338746 h 6858000"/>
              <a:gd name="connsiteX17" fmla="*/ 11028990 w 12191998"/>
              <a:gd name="connsiteY17" fmla="*/ 338746 h 6858000"/>
              <a:gd name="connsiteX18" fmla="*/ 11028990 w 12191998"/>
              <a:gd name="connsiteY18" fmla="*/ 572629 h 6858000"/>
              <a:gd name="connsiteX19" fmla="*/ 11079578 w 12191998"/>
              <a:gd name="connsiteY19" fmla="*/ 572629 h 6858000"/>
              <a:gd name="connsiteX20" fmla="*/ 11079578 w 12191998"/>
              <a:gd name="connsiteY20" fmla="*/ 338746 h 6858000"/>
              <a:gd name="connsiteX21" fmla="*/ 11156284 w 12191998"/>
              <a:gd name="connsiteY21" fmla="*/ 338746 h 6858000"/>
              <a:gd name="connsiteX22" fmla="*/ 11200520 w 12191998"/>
              <a:gd name="connsiteY22" fmla="*/ 387923 h 6858000"/>
              <a:gd name="connsiteX23" fmla="*/ 11200520 w 12191998"/>
              <a:gd name="connsiteY23" fmla="*/ 572629 h 6858000"/>
              <a:gd name="connsiteX24" fmla="*/ 11250873 w 12191998"/>
              <a:gd name="connsiteY24" fmla="*/ 572629 h 6858000"/>
              <a:gd name="connsiteX25" fmla="*/ 11250873 w 12191998"/>
              <a:gd name="connsiteY25" fmla="*/ 374040 h 6858000"/>
              <a:gd name="connsiteX26" fmla="*/ 11181696 w 12191998"/>
              <a:gd name="connsiteY26" fmla="*/ 296864 h 6858000"/>
              <a:gd name="connsiteX27" fmla="*/ 11351579 w 12191998"/>
              <a:gd name="connsiteY27" fmla="*/ 296864 h 6858000"/>
              <a:gd name="connsiteX28" fmla="*/ 11280755 w 12191998"/>
              <a:gd name="connsiteY28" fmla="*/ 373335 h 6858000"/>
              <a:gd name="connsiteX29" fmla="*/ 11348049 w 12191998"/>
              <a:gd name="connsiteY29" fmla="*/ 452864 h 6858000"/>
              <a:gd name="connsiteX30" fmla="*/ 11467814 w 12191998"/>
              <a:gd name="connsiteY30" fmla="*/ 452864 h 6858000"/>
              <a:gd name="connsiteX31" fmla="*/ 11504520 w 12191998"/>
              <a:gd name="connsiteY31" fmla="*/ 494040 h 6858000"/>
              <a:gd name="connsiteX32" fmla="*/ 11468755 w 12191998"/>
              <a:gd name="connsiteY32" fmla="*/ 530746 h 6858000"/>
              <a:gd name="connsiteX33" fmla="*/ 11285461 w 12191998"/>
              <a:gd name="connsiteY33" fmla="*/ 530746 h 6858000"/>
              <a:gd name="connsiteX34" fmla="*/ 11285461 w 12191998"/>
              <a:gd name="connsiteY34" fmla="*/ 572864 h 6858000"/>
              <a:gd name="connsiteX35" fmla="*/ 11489932 w 12191998"/>
              <a:gd name="connsiteY35" fmla="*/ 572864 h 6858000"/>
              <a:gd name="connsiteX36" fmla="*/ 11555579 w 12191998"/>
              <a:gd name="connsiteY36" fmla="*/ 494511 h 6858000"/>
              <a:gd name="connsiteX37" fmla="*/ 11493226 w 12191998"/>
              <a:gd name="connsiteY37" fmla="*/ 411217 h 6858000"/>
              <a:gd name="connsiteX38" fmla="*/ 11363814 w 12191998"/>
              <a:gd name="connsiteY38" fmla="*/ 411217 h 6858000"/>
              <a:gd name="connsiteX39" fmla="*/ 11331108 w 12191998"/>
              <a:gd name="connsiteY39" fmla="*/ 374511 h 6858000"/>
              <a:gd name="connsiteX40" fmla="*/ 11369226 w 12191998"/>
              <a:gd name="connsiteY40" fmla="*/ 338982 h 6858000"/>
              <a:gd name="connsiteX41" fmla="*/ 11545932 w 12191998"/>
              <a:gd name="connsiteY41" fmla="*/ 338982 h 6858000"/>
              <a:gd name="connsiteX42" fmla="*/ 11545932 w 12191998"/>
              <a:gd name="connsiteY42" fmla="*/ 297099 h 6858000"/>
              <a:gd name="connsiteX43" fmla="*/ 11686167 w 12191998"/>
              <a:gd name="connsiteY43" fmla="*/ 296864 h 6858000"/>
              <a:gd name="connsiteX44" fmla="*/ 11612284 w 12191998"/>
              <a:gd name="connsiteY44" fmla="*/ 313805 h 6858000"/>
              <a:gd name="connsiteX45" fmla="*/ 11586402 w 12191998"/>
              <a:gd name="connsiteY45" fmla="*/ 384393 h 6858000"/>
              <a:gd name="connsiteX46" fmla="*/ 11586402 w 12191998"/>
              <a:gd name="connsiteY46" fmla="*/ 483923 h 6858000"/>
              <a:gd name="connsiteX47" fmla="*/ 11613931 w 12191998"/>
              <a:gd name="connsiteY47" fmla="*/ 558276 h 6858000"/>
              <a:gd name="connsiteX48" fmla="*/ 11686402 w 12191998"/>
              <a:gd name="connsiteY48" fmla="*/ 572629 h 6858000"/>
              <a:gd name="connsiteX49" fmla="*/ 11807108 w 12191998"/>
              <a:gd name="connsiteY49" fmla="*/ 572629 h 6858000"/>
              <a:gd name="connsiteX50" fmla="*/ 11807108 w 12191998"/>
              <a:gd name="connsiteY50" fmla="*/ 583217 h 6858000"/>
              <a:gd name="connsiteX51" fmla="*/ 11779108 w 12191998"/>
              <a:gd name="connsiteY51" fmla="*/ 613099 h 6858000"/>
              <a:gd name="connsiteX52" fmla="*/ 11621696 w 12191998"/>
              <a:gd name="connsiteY52" fmla="*/ 613099 h 6858000"/>
              <a:gd name="connsiteX53" fmla="*/ 11621696 w 12191998"/>
              <a:gd name="connsiteY53" fmla="*/ 657335 h 6858000"/>
              <a:gd name="connsiteX54" fmla="*/ 11795343 w 12191998"/>
              <a:gd name="connsiteY54" fmla="*/ 657335 h 6858000"/>
              <a:gd name="connsiteX55" fmla="*/ 11857226 w 12191998"/>
              <a:gd name="connsiteY55" fmla="*/ 597099 h 6858000"/>
              <a:gd name="connsiteX56" fmla="*/ 11857226 w 12191998"/>
              <a:gd name="connsiteY56" fmla="*/ 296864 h 6858000"/>
              <a:gd name="connsiteX57" fmla="*/ 0 w 12191998"/>
              <a:gd name="connsiteY57" fmla="*/ 0 h 6858000"/>
              <a:gd name="connsiteX58" fmla="*/ 12191998 w 12191998"/>
              <a:gd name="connsiteY58" fmla="*/ 0 h 6858000"/>
              <a:gd name="connsiteX59" fmla="*/ 12191998 w 12191998"/>
              <a:gd name="connsiteY59" fmla="*/ 6858000 h 6858000"/>
              <a:gd name="connsiteX60" fmla="*/ 0 w 12191998"/>
              <a:gd name="connsiteY6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91998" h="6858000">
                <a:moveTo>
                  <a:pt x="10764520" y="454511"/>
                </a:moveTo>
                <a:cubicBezTo>
                  <a:pt x="10731344" y="454511"/>
                  <a:pt x="10704520" y="481335"/>
                  <a:pt x="10704520" y="514511"/>
                </a:cubicBezTo>
                <a:cubicBezTo>
                  <a:pt x="10704520" y="547687"/>
                  <a:pt x="10731344" y="574511"/>
                  <a:pt x="10764520" y="574511"/>
                </a:cubicBezTo>
                <a:cubicBezTo>
                  <a:pt x="10797697" y="574511"/>
                  <a:pt x="10824520" y="547687"/>
                  <a:pt x="10824520" y="514511"/>
                </a:cubicBezTo>
                <a:cubicBezTo>
                  <a:pt x="10824520" y="481335"/>
                  <a:pt x="10797697" y="454511"/>
                  <a:pt x="10764520" y="454511"/>
                </a:cubicBezTo>
                <a:close/>
                <a:moveTo>
                  <a:pt x="11703579" y="338982"/>
                </a:moveTo>
                <a:lnTo>
                  <a:pt x="11807108" y="338982"/>
                </a:lnTo>
                <a:lnTo>
                  <a:pt x="11807108" y="530746"/>
                </a:lnTo>
                <a:lnTo>
                  <a:pt x="11701461" y="530746"/>
                </a:lnTo>
                <a:cubicBezTo>
                  <a:pt x="11670167" y="530982"/>
                  <a:pt x="11638637" y="533099"/>
                  <a:pt x="11637696" y="492629"/>
                </a:cubicBezTo>
                <a:cubicBezTo>
                  <a:pt x="11637696" y="490982"/>
                  <a:pt x="11637461" y="476158"/>
                  <a:pt x="11637696" y="432864"/>
                </a:cubicBezTo>
                <a:cubicBezTo>
                  <a:pt x="11637932" y="396158"/>
                  <a:pt x="11637461" y="387452"/>
                  <a:pt x="11637696" y="383688"/>
                </a:cubicBezTo>
                <a:cubicBezTo>
                  <a:pt x="11639343" y="349805"/>
                  <a:pt x="11651814" y="337805"/>
                  <a:pt x="11703579" y="338982"/>
                </a:cubicBezTo>
                <a:close/>
                <a:moveTo>
                  <a:pt x="10863343" y="296864"/>
                </a:moveTo>
                <a:lnTo>
                  <a:pt x="10863343" y="572629"/>
                </a:lnTo>
                <a:lnTo>
                  <a:pt x="10913696" y="572629"/>
                </a:lnTo>
                <a:lnTo>
                  <a:pt x="10913696" y="338746"/>
                </a:lnTo>
                <a:lnTo>
                  <a:pt x="11028990" y="338746"/>
                </a:lnTo>
                <a:lnTo>
                  <a:pt x="11028990" y="572629"/>
                </a:lnTo>
                <a:lnTo>
                  <a:pt x="11079578" y="572629"/>
                </a:lnTo>
                <a:lnTo>
                  <a:pt x="11079578" y="338746"/>
                </a:lnTo>
                <a:lnTo>
                  <a:pt x="11156284" y="338746"/>
                </a:lnTo>
                <a:cubicBezTo>
                  <a:pt x="11182167" y="338746"/>
                  <a:pt x="11200520" y="354276"/>
                  <a:pt x="11200520" y="387923"/>
                </a:cubicBezTo>
                <a:lnTo>
                  <a:pt x="11200520" y="572629"/>
                </a:lnTo>
                <a:lnTo>
                  <a:pt x="11250873" y="572629"/>
                </a:lnTo>
                <a:lnTo>
                  <a:pt x="11250873" y="374040"/>
                </a:lnTo>
                <a:cubicBezTo>
                  <a:pt x="11250873" y="336393"/>
                  <a:pt x="11231579" y="296864"/>
                  <a:pt x="11181696" y="296864"/>
                </a:cubicBezTo>
                <a:close/>
                <a:moveTo>
                  <a:pt x="11351579" y="296864"/>
                </a:moveTo>
                <a:cubicBezTo>
                  <a:pt x="11297226" y="296864"/>
                  <a:pt x="11280755" y="333099"/>
                  <a:pt x="11280755" y="373335"/>
                </a:cubicBezTo>
                <a:cubicBezTo>
                  <a:pt x="11280755" y="416629"/>
                  <a:pt x="11298637" y="452864"/>
                  <a:pt x="11348049" y="452864"/>
                </a:cubicBezTo>
                <a:lnTo>
                  <a:pt x="11467814" y="452864"/>
                </a:lnTo>
                <a:cubicBezTo>
                  <a:pt x="11504520" y="452864"/>
                  <a:pt x="11504520" y="481099"/>
                  <a:pt x="11504520" y="494040"/>
                </a:cubicBezTo>
                <a:cubicBezTo>
                  <a:pt x="11504520" y="506040"/>
                  <a:pt x="11504520" y="530746"/>
                  <a:pt x="11468755" y="530746"/>
                </a:cubicBezTo>
                <a:lnTo>
                  <a:pt x="11285461" y="530746"/>
                </a:lnTo>
                <a:lnTo>
                  <a:pt x="11285461" y="572864"/>
                </a:lnTo>
                <a:lnTo>
                  <a:pt x="11489932" y="572864"/>
                </a:lnTo>
                <a:cubicBezTo>
                  <a:pt x="11540991" y="572864"/>
                  <a:pt x="11555579" y="542982"/>
                  <a:pt x="11555579" y="494511"/>
                </a:cubicBezTo>
                <a:cubicBezTo>
                  <a:pt x="11555579" y="436864"/>
                  <a:pt x="11536755" y="411217"/>
                  <a:pt x="11493226" y="411217"/>
                </a:cubicBezTo>
                <a:lnTo>
                  <a:pt x="11363814" y="411217"/>
                </a:lnTo>
                <a:cubicBezTo>
                  <a:pt x="11331108" y="411217"/>
                  <a:pt x="11331108" y="389099"/>
                  <a:pt x="11331108" y="374511"/>
                </a:cubicBezTo>
                <a:cubicBezTo>
                  <a:pt x="11331108" y="362982"/>
                  <a:pt x="11334402" y="338982"/>
                  <a:pt x="11369226" y="338982"/>
                </a:cubicBezTo>
                <a:lnTo>
                  <a:pt x="11545932" y="338982"/>
                </a:lnTo>
                <a:lnTo>
                  <a:pt x="11545932" y="297099"/>
                </a:lnTo>
                <a:close/>
                <a:moveTo>
                  <a:pt x="11686167" y="296864"/>
                </a:moveTo>
                <a:cubicBezTo>
                  <a:pt x="11641226" y="296864"/>
                  <a:pt x="11624520" y="303923"/>
                  <a:pt x="11612284" y="313805"/>
                </a:cubicBezTo>
                <a:cubicBezTo>
                  <a:pt x="11598873" y="324629"/>
                  <a:pt x="11586637" y="338040"/>
                  <a:pt x="11586402" y="384393"/>
                </a:cubicBezTo>
                <a:lnTo>
                  <a:pt x="11586402" y="483923"/>
                </a:lnTo>
                <a:cubicBezTo>
                  <a:pt x="11586402" y="532864"/>
                  <a:pt x="11600049" y="546746"/>
                  <a:pt x="11613931" y="558276"/>
                </a:cubicBezTo>
                <a:cubicBezTo>
                  <a:pt x="11623343" y="564864"/>
                  <a:pt x="11638873" y="572629"/>
                  <a:pt x="11686402" y="572629"/>
                </a:cubicBezTo>
                <a:lnTo>
                  <a:pt x="11807108" y="572629"/>
                </a:lnTo>
                <a:lnTo>
                  <a:pt x="11807108" y="583217"/>
                </a:lnTo>
                <a:cubicBezTo>
                  <a:pt x="11807108" y="604158"/>
                  <a:pt x="11803108" y="613099"/>
                  <a:pt x="11779108" y="613099"/>
                </a:cubicBezTo>
                <a:lnTo>
                  <a:pt x="11621696" y="613099"/>
                </a:lnTo>
                <a:lnTo>
                  <a:pt x="11621696" y="657335"/>
                </a:lnTo>
                <a:lnTo>
                  <a:pt x="11795343" y="657335"/>
                </a:lnTo>
                <a:cubicBezTo>
                  <a:pt x="11842167" y="657335"/>
                  <a:pt x="11857226" y="636393"/>
                  <a:pt x="11857226" y="597099"/>
                </a:cubicBezTo>
                <a:lnTo>
                  <a:pt x="11857226" y="296864"/>
                </a:lnTo>
                <a:close/>
                <a:moveTo>
                  <a:pt x="0" y="0"/>
                </a:moveTo>
                <a:lnTo>
                  <a:pt x="12191998" y="0"/>
                </a:lnTo>
                <a:lnTo>
                  <a:pt x="12191998" y="6858000"/>
                </a:lnTo>
                <a:lnTo>
                  <a:pt x="0" y="6858000"/>
                </a:lnTo>
                <a:close/>
              </a:path>
            </a:pathLst>
          </a:custGeom>
          <a:solidFill>
            <a:schemeClr val="bg2"/>
          </a:solidFill>
        </p:spPr>
        <p:txBody>
          <a:bodyPr wrap="square">
            <a:noAutofit/>
          </a:bodyPr>
          <a:lstStyle/>
          <a:p>
            <a:r>
              <a:rPr lang="de-DE"/>
              <a:t>Bild durch Klicken auf Symbol hinzufügen</a:t>
            </a:r>
          </a:p>
        </p:txBody>
      </p:sp>
      <p:sp>
        <p:nvSpPr>
          <p:cNvPr id="36" name="Titel 35">
            <a:extLst>
              <a:ext uri="{FF2B5EF4-FFF2-40B4-BE49-F238E27FC236}">
                <a16:creationId xmlns:a16="http://schemas.microsoft.com/office/drawing/2014/main" id="{96C8531C-5AF0-B253-98FC-D9C844FE91DB}"/>
              </a:ext>
            </a:extLst>
          </p:cNvPr>
          <p:cNvSpPr>
            <a:spLocks noGrp="1"/>
          </p:cNvSpPr>
          <p:nvPr>
            <p:ph type="title"/>
          </p:nvPr>
        </p:nvSpPr>
        <p:spPr bwMode="gray">
          <a:xfrm>
            <a:off x="623887" y="3501070"/>
            <a:ext cx="6264631" cy="2591755"/>
          </a:xfrm>
          <a:custGeom>
            <a:avLst/>
            <a:gdLst>
              <a:gd name="connsiteX0" fmla="*/ 0 w 6284912"/>
              <a:gd name="connsiteY0" fmla="*/ 0 h 2522538"/>
              <a:gd name="connsiteX1" fmla="*/ 254000 w 6284912"/>
              <a:gd name="connsiteY1" fmla="*/ 0 h 2522538"/>
              <a:gd name="connsiteX2" fmla="*/ 6030912 w 6284912"/>
              <a:gd name="connsiteY2" fmla="*/ 0 h 2522538"/>
              <a:gd name="connsiteX3" fmla="*/ 6064518 w 6284912"/>
              <a:gd name="connsiteY3" fmla="*/ 0 h 2522538"/>
              <a:gd name="connsiteX4" fmla="*/ 6284912 w 6284912"/>
              <a:gd name="connsiteY4" fmla="*/ 220394 h 2522538"/>
              <a:gd name="connsiteX5" fmla="*/ 6284912 w 6284912"/>
              <a:gd name="connsiteY5" fmla="*/ 2522538 h 2522538"/>
              <a:gd name="connsiteX6" fmla="*/ 6030912 w 6284912"/>
              <a:gd name="connsiteY6" fmla="*/ 2522538 h 2522538"/>
              <a:gd name="connsiteX7" fmla="*/ 254000 w 6284912"/>
              <a:gd name="connsiteY7" fmla="*/ 2522538 h 2522538"/>
              <a:gd name="connsiteX8" fmla="*/ 220394 w 6284912"/>
              <a:gd name="connsiteY8" fmla="*/ 2522538 h 2522538"/>
              <a:gd name="connsiteX9" fmla="*/ 0 w 6284912"/>
              <a:gd name="connsiteY9" fmla="*/ 2302144 h 252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4912" h="2522538">
                <a:moveTo>
                  <a:pt x="0" y="0"/>
                </a:moveTo>
                <a:lnTo>
                  <a:pt x="254000" y="0"/>
                </a:lnTo>
                <a:lnTo>
                  <a:pt x="6030912" y="0"/>
                </a:lnTo>
                <a:lnTo>
                  <a:pt x="6064518" y="0"/>
                </a:lnTo>
                <a:cubicBezTo>
                  <a:pt x="6186238" y="0"/>
                  <a:pt x="6284912" y="98674"/>
                  <a:pt x="6284912" y="220394"/>
                </a:cubicBezTo>
                <a:lnTo>
                  <a:pt x="6284912" y="2522538"/>
                </a:lnTo>
                <a:lnTo>
                  <a:pt x="6030912" y="2522538"/>
                </a:lnTo>
                <a:lnTo>
                  <a:pt x="254000" y="2522538"/>
                </a:lnTo>
                <a:lnTo>
                  <a:pt x="220394" y="2522538"/>
                </a:lnTo>
                <a:cubicBezTo>
                  <a:pt x="98674" y="2522538"/>
                  <a:pt x="0" y="2423864"/>
                  <a:pt x="0" y="2302144"/>
                </a:cubicBezTo>
                <a:close/>
              </a:path>
            </a:pathLst>
          </a:custGeom>
          <a:solidFill>
            <a:schemeClr val="bg1"/>
          </a:solidFill>
        </p:spPr>
        <p:txBody>
          <a:bodyPr vert="horz" wrap="square" lIns="504000" tIns="216000" rIns="288000" bIns="216000" anchor="t">
            <a:noAutofit/>
          </a:bodyPr>
          <a:lstStyle>
            <a:lvl1pPr rtl="0">
              <a:spcAft>
                <a:spcPts val="600"/>
              </a:spcAft>
              <a:defRPr sz="3600">
                <a:solidFill>
                  <a:schemeClr val="accent1"/>
                </a:solidFill>
              </a:defRPr>
            </a:lvl1pPr>
          </a:lstStyle>
          <a:p>
            <a:r>
              <a:rPr lang="de-DE"/>
              <a:t>Mastertitelformat bearbeiten</a:t>
            </a:r>
            <a:endParaRPr lang="de-DE" dirty="0"/>
          </a:p>
        </p:txBody>
      </p:sp>
      <p:sp>
        <p:nvSpPr>
          <p:cNvPr id="3" name="Textplatzhalter 2">
            <a:extLst>
              <a:ext uri="{FF2B5EF4-FFF2-40B4-BE49-F238E27FC236}">
                <a16:creationId xmlns:a16="http://schemas.microsoft.com/office/drawing/2014/main" id="{36EC5C41-9428-78A5-50CC-C362CA7CBD1E}"/>
              </a:ext>
            </a:extLst>
          </p:cNvPr>
          <p:cNvSpPr>
            <a:spLocks noGrp="1"/>
          </p:cNvSpPr>
          <p:nvPr>
            <p:ph type="body" sz="quarter" idx="17" hasCustomPrompt="1"/>
          </p:nvPr>
        </p:nvSpPr>
        <p:spPr>
          <a:xfrm>
            <a:off x="306388" y="3771900"/>
            <a:ext cx="635000" cy="635000"/>
          </a:xfrm>
          <a:prstGeom prst="ellipse">
            <a:avLst/>
          </a:prstGeom>
          <a:blipFill>
            <a:blip r:embed="rId5"/>
            <a:stretch>
              <a:fillRect/>
            </a:stretch>
          </a:blipFill>
        </p:spPr>
        <p:txBody>
          <a:bodyPr anchor="ctr"/>
          <a:lstStyle>
            <a:lvl1pPr algn="ctr">
              <a:defRPr sz="2400" b="1">
                <a:solidFill>
                  <a:schemeClr val="accent1"/>
                </a:solidFill>
                <a:latin typeface="+mj-lt"/>
              </a:defRPr>
            </a:lvl1pPr>
          </a:lstStyle>
          <a:p>
            <a:pPr lvl="0"/>
            <a:r>
              <a:rPr lang="de-DE" dirty="0"/>
              <a:t>01</a:t>
            </a:r>
          </a:p>
        </p:txBody>
      </p:sp>
      <p:sp>
        <p:nvSpPr>
          <p:cNvPr id="74" name="Fußzeilenplatzhalter 73">
            <a:extLst>
              <a:ext uri="{FF2B5EF4-FFF2-40B4-BE49-F238E27FC236}">
                <a16:creationId xmlns:a16="http://schemas.microsoft.com/office/drawing/2014/main" id="{0CA78F98-4683-CEF1-5C75-1D7B04EAA2D4}"/>
              </a:ext>
            </a:extLst>
          </p:cNvPr>
          <p:cNvSpPr>
            <a:spLocks noGrp="1"/>
          </p:cNvSpPr>
          <p:nvPr>
            <p:ph type="ftr" sz="quarter" idx="18"/>
          </p:nvPr>
        </p:nvSpPr>
        <p:spPr/>
        <p:txBody>
          <a:bodyPr/>
          <a:lstStyle/>
          <a:p>
            <a:endParaRPr lang="en-US"/>
          </a:p>
        </p:txBody>
      </p:sp>
      <p:sp>
        <p:nvSpPr>
          <p:cNvPr id="85" name="Foliennummernplatzhalter 84">
            <a:extLst>
              <a:ext uri="{FF2B5EF4-FFF2-40B4-BE49-F238E27FC236}">
                <a16:creationId xmlns:a16="http://schemas.microsoft.com/office/drawing/2014/main" id="{ED0CB22B-9AFB-D51E-1E56-8D72B900EEDB}"/>
              </a:ext>
            </a:extLst>
          </p:cNvPr>
          <p:cNvSpPr>
            <a:spLocks noGrp="1"/>
          </p:cNvSpPr>
          <p:nvPr>
            <p:ph type="sldNum" sz="quarter" idx="19"/>
          </p:nvPr>
        </p:nvSpPr>
        <p:spPr/>
        <p:txBody>
          <a:bodyPr/>
          <a:lstStyle/>
          <a:p>
            <a:fld id="{C7D046C8-03B9-4997-9490-81EAE2ED7C49}" type="slidenum">
              <a:rPr lang="en-US" smtClean="0"/>
              <a:t>‹Nr.›</a:t>
            </a:fld>
            <a:endParaRPr lang="en-US"/>
          </a:p>
        </p:txBody>
      </p:sp>
      <p:grpSp>
        <p:nvGrpSpPr>
          <p:cNvPr id="51" name="Gruppieren 50">
            <a:extLst>
              <a:ext uri="{FF2B5EF4-FFF2-40B4-BE49-F238E27FC236}">
                <a16:creationId xmlns:a16="http://schemas.microsoft.com/office/drawing/2014/main" id="{D30454BE-5DD4-6C5C-9B16-5C47ACF1A8DA}"/>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09748565-9A17-43EF-EB89-D4A0B74B57E3}"/>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86B1E96-9338-B5E0-77FA-C470E0504B2E}"/>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23AEFC0B-3357-8281-ECC6-905453CCD4B3}"/>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79A76A7A-4A89-29AA-6E90-B4DF8A96366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D2B29119-661E-C7A4-D412-2008CFAA8B2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11" name="Gruppieren 110">
            <a:extLst>
              <a:ext uri="{FF2B5EF4-FFF2-40B4-BE49-F238E27FC236}">
                <a16:creationId xmlns:a16="http://schemas.microsoft.com/office/drawing/2014/main" id="{A18D47CB-C83F-42CE-2E62-3D6D05605C9A}"/>
              </a:ext>
              <a:ext uri="{C183D7F6-B498-43B3-948B-1728B52AA6E4}">
                <adec:decorative xmlns:adec="http://schemas.microsoft.com/office/drawing/2017/decorative" val="1"/>
              </a:ext>
            </a:extLst>
          </p:cNvPr>
          <p:cNvGrpSpPr/>
          <p:nvPr/>
        </p:nvGrpSpPr>
        <p:grpSpPr bwMode="gray">
          <a:xfrm>
            <a:off x="-254000" y="296863"/>
            <a:ext cx="144000" cy="6300787"/>
            <a:chOff x="0" y="296863"/>
            <a:chExt cx="12192000" cy="6300787"/>
          </a:xfrm>
        </p:grpSpPr>
        <p:cxnSp>
          <p:nvCxnSpPr>
            <p:cNvPr id="112" name="Gerader Verbinder 111">
              <a:extLst>
                <a:ext uri="{FF2B5EF4-FFF2-40B4-BE49-F238E27FC236}">
                  <a16:creationId xmlns:a16="http://schemas.microsoft.com/office/drawing/2014/main" id="{3606E6E8-565A-4EA3-97DC-60AF8D1E5F94}"/>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0F6256DE-8F8F-08CF-0F80-26DB25653224}"/>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id="{61F45AD2-FAF3-2F94-FAED-D0D41107CE03}"/>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2" name="Gerader Verbinder 191">
              <a:extLst>
                <a:ext uri="{FF2B5EF4-FFF2-40B4-BE49-F238E27FC236}">
                  <a16:creationId xmlns:a16="http://schemas.microsoft.com/office/drawing/2014/main" id="{18C7D4F5-19AB-4B6B-EDDF-9AA146D90F04}"/>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7B1B1191-05E9-7224-F7D6-E47A86A0638F}"/>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4" name="Gerader Verbinder 193">
              <a:extLst>
                <a:ext uri="{FF2B5EF4-FFF2-40B4-BE49-F238E27FC236}">
                  <a16:creationId xmlns:a16="http://schemas.microsoft.com/office/drawing/2014/main" id="{EC780526-E377-241F-F512-87F31E4EAC5E}"/>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47CA7E2E-D34B-8C00-9B93-7F6644503F50}"/>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6" name="Gruppieren 195">
            <a:extLst>
              <a:ext uri="{FF2B5EF4-FFF2-40B4-BE49-F238E27FC236}">
                <a16:creationId xmlns:a16="http://schemas.microsoft.com/office/drawing/2014/main" id="{C4951A20-840C-7322-212E-577C5C1357F4}"/>
              </a:ext>
              <a:ext uri="{C183D7F6-B498-43B3-948B-1728B52AA6E4}">
                <adec:decorative xmlns:adec="http://schemas.microsoft.com/office/drawing/2017/decorative" val="1"/>
              </a:ext>
            </a:extLst>
          </p:cNvPr>
          <p:cNvGrpSpPr/>
          <p:nvPr/>
        </p:nvGrpSpPr>
        <p:grpSpPr bwMode="gray">
          <a:xfrm>
            <a:off x="12301940" y="296863"/>
            <a:ext cx="144000" cy="6300787"/>
            <a:chOff x="0" y="296863"/>
            <a:chExt cx="12192000" cy="6300787"/>
          </a:xfrm>
        </p:grpSpPr>
        <p:cxnSp>
          <p:nvCxnSpPr>
            <p:cNvPr id="197" name="Gerader Verbinder 196">
              <a:extLst>
                <a:ext uri="{FF2B5EF4-FFF2-40B4-BE49-F238E27FC236}">
                  <a16:creationId xmlns:a16="http://schemas.microsoft.com/office/drawing/2014/main" id="{F919F82A-9F90-9AFA-9AA6-C25AF48481B7}"/>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60E9F867-7D7E-052D-5F6D-20731BF5EE21}"/>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C9DF1C4F-8A2F-A428-0A0D-726096817EC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FAA951C7-A55B-633C-4696-791ACAA6EDC4}"/>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0065F85B-564B-93BB-921F-7287AA187C71}"/>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9431EA9C-9565-1D0D-E792-4D3CFB81BC41}"/>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51DF7004-6509-D765-EBDC-D6E30954DB53}"/>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93966504"/>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Kapitel 3">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5D1E776-3F94-A5E4-A48A-3D2EF966C59D}"/>
              </a:ext>
            </a:extLst>
          </p:cNvPr>
          <p:cNvGraphicFramePr>
            <a:graphicFrameLocks noChangeAspect="1"/>
          </p:cNvGraphicFramePr>
          <p:nvPr>
            <p:custDataLst>
              <p:tags r:id="rId1"/>
            </p:custDataLst>
            <p:extLst>
              <p:ext uri="{D42A27DB-BD31-4B8C-83A1-F6EECF244321}">
                <p14:modId xmlns:p14="http://schemas.microsoft.com/office/powerpoint/2010/main" val="3277913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E5D1E776-3F94-A5E4-A48A-3D2EF966C5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descr="Bild füllt die komplette Folie aus, im unteren Bereich Kapitelnummer, Titel und Untertitel, Bild ist änderbar.">
            <a:extLst>
              <a:ext uri="{FF2B5EF4-FFF2-40B4-BE49-F238E27FC236}">
                <a16:creationId xmlns:a16="http://schemas.microsoft.com/office/drawing/2014/main" id="{E2E72487-DC5F-3D9B-6063-5D7F49143C4A}"/>
              </a:ext>
              <a:ext uri="{C183D7F6-B498-43B3-948B-1728B52AA6E4}">
                <adec:decorative xmlns:adec="http://schemas.microsoft.com/office/drawing/2017/decorative" val="0"/>
              </a:ext>
            </a:extLst>
          </p:cNvPr>
          <p:cNvSpPr>
            <a:spLocks noGrp="1"/>
          </p:cNvSpPr>
          <p:nvPr>
            <p:ph type="pic" sz="quarter" idx="13"/>
          </p:nvPr>
        </p:nvSpPr>
        <p:spPr bwMode="gray">
          <a:xfrm>
            <a:off x="1" y="0"/>
            <a:ext cx="12191998" cy="6858000"/>
          </a:xfrm>
          <a:custGeom>
            <a:avLst/>
            <a:gdLst>
              <a:gd name="connsiteX0" fmla="*/ 10764520 w 12191998"/>
              <a:gd name="connsiteY0" fmla="*/ 454511 h 6858000"/>
              <a:gd name="connsiteX1" fmla="*/ 10704520 w 12191998"/>
              <a:gd name="connsiteY1" fmla="*/ 514511 h 6858000"/>
              <a:gd name="connsiteX2" fmla="*/ 10764520 w 12191998"/>
              <a:gd name="connsiteY2" fmla="*/ 574511 h 6858000"/>
              <a:gd name="connsiteX3" fmla="*/ 10824520 w 12191998"/>
              <a:gd name="connsiteY3" fmla="*/ 514511 h 6858000"/>
              <a:gd name="connsiteX4" fmla="*/ 10764520 w 12191998"/>
              <a:gd name="connsiteY4" fmla="*/ 454511 h 6858000"/>
              <a:gd name="connsiteX5" fmla="*/ 11703579 w 12191998"/>
              <a:gd name="connsiteY5" fmla="*/ 338982 h 6858000"/>
              <a:gd name="connsiteX6" fmla="*/ 11807108 w 12191998"/>
              <a:gd name="connsiteY6" fmla="*/ 338982 h 6858000"/>
              <a:gd name="connsiteX7" fmla="*/ 11807108 w 12191998"/>
              <a:gd name="connsiteY7" fmla="*/ 530746 h 6858000"/>
              <a:gd name="connsiteX8" fmla="*/ 11701461 w 12191998"/>
              <a:gd name="connsiteY8" fmla="*/ 530746 h 6858000"/>
              <a:gd name="connsiteX9" fmla="*/ 11637696 w 12191998"/>
              <a:gd name="connsiteY9" fmla="*/ 492629 h 6858000"/>
              <a:gd name="connsiteX10" fmla="*/ 11637696 w 12191998"/>
              <a:gd name="connsiteY10" fmla="*/ 432864 h 6858000"/>
              <a:gd name="connsiteX11" fmla="*/ 11637696 w 12191998"/>
              <a:gd name="connsiteY11" fmla="*/ 383688 h 6858000"/>
              <a:gd name="connsiteX12" fmla="*/ 11703579 w 12191998"/>
              <a:gd name="connsiteY12" fmla="*/ 338982 h 6858000"/>
              <a:gd name="connsiteX13" fmla="*/ 10863343 w 12191998"/>
              <a:gd name="connsiteY13" fmla="*/ 296864 h 6858000"/>
              <a:gd name="connsiteX14" fmla="*/ 10863343 w 12191998"/>
              <a:gd name="connsiteY14" fmla="*/ 572629 h 6858000"/>
              <a:gd name="connsiteX15" fmla="*/ 10913696 w 12191998"/>
              <a:gd name="connsiteY15" fmla="*/ 572629 h 6858000"/>
              <a:gd name="connsiteX16" fmla="*/ 10913696 w 12191998"/>
              <a:gd name="connsiteY16" fmla="*/ 338746 h 6858000"/>
              <a:gd name="connsiteX17" fmla="*/ 11028990 w 12191998"/>
              <a:gd name="connsiteY17" fmla="*/ 338746 h 6858000"/>
              <a:gd name="connsiteX18" fmla="*/ 11028990 w 12191998"/>
              <a:gd name="connsiteY18" fmla="*/ 572629 h 6858000"/>
              <a:gd name="connsiteX19" fmla="*/ 11079578 w 12191998"/>
              <a:gd name="connsiteY19" fmla="*/ 572629 h 6858000"/>
              <a:gd name="connsiteX20" fmla="*/ 11079578 w 12191998"/>
              <a:gd name="connsiteY20" fmla="*/ 338746 h 6858000"/>
              <a:gd name="connsiteX21" fmla="*/ 11156284 w 12191998"/>
              <a:gd name="connsiteY21" fmla="*/ 338746 h 6858000"/>
              <a:gd name="connsiteX22" fmla="*/ 11200520 w 12191998"/>
              <a:gd name="connsiteY22" fmla="*/ 387923 h 6858000"/>
              <a:gd name="connsiteX23" fmla="*/ 11200520 w 12191998"/>
              <a:gd name="connsiteY23" fmla="*/ 572629 h 6858000"/>
              <a:gd name="connsiteX24" fmla="*/ 11250873 w 12191998"/>
              <a:gd name="connsiteY24" fmla="*/ 572629 h 6858000"/>
              <a:gd name="connsiteX25" fmla="*/ 11250873 w 12191998"/>
              <a:gd name="connsiteY25" fmla="*/ 374040 h 6858000"/>
              <a:gd name="connsiteX26" fmla="*/ 11181696 w 12191998"/>
              <a:gd name="connsiteY26" fmla="*/ 296864 h 6858000"/>
              <a:gd name="connsiteX27" fmla="*/ 11351579 w 12191998"/>
              <a:gd name="connsiteY27" fmla="*/ 296864 h 6858000"/>
              <a:gd name="connsiteX28" fmla="*/ 11280755 w 12191998"/>
              <a:gd name="connsiteY28" fmla="*/ 373335 h 6858000"/>
              <a:gd name="connsiteX29" fmla="*/ 11348049 w 12191998"/>
              <a:gd name="connsiteY29" fmla="*/ 452864 h 6858000"/>
              <a:gd name="connsiteX30" fmla="*/ 11467814 w 12191998"/>
              <a:gd name="connsiteY30" fmla="*/ 452864 h 6858000"/>
              <a:gd name="connsiteX31" fmla="*/ 11504520 w 12191998"/>
              <a:gd name="connsiteY31" fmla="*/ 494040 h 6858000"/>
              <a:gd name="connsiteX32" fmla="*/ 11468755 w 12191998"/>
              <a:gd name="connsiteY32" fmla="*/ 530746 h 6858000"/>
              <a:gd name="connsiteX33" fmla="*/ 11285461 w 12191998"/>
              <a:gd name="connsiteY33" fmla="*/ 530746 h 6858000"/>
              <a:gd name="connsiteX34" fmla="*/ 11285461 w 12191998"/>
              <a:gd name="connsiteY34" fmla="*/ 572864 h 6858000"/>
              <a:gd name="connsiteX35" fmla="*/ 11489932 w 12191998"/>
              <a:gd name="connsiteY35" fmla="*/ 572864 h 6858000"/>
              <a:gd name="connsiteX36" fmla="*/ 11555579 w 12191998"/>
              <a:gd name="connsiteY36" fmla="*/ 494511 h 6858000"/>
              <a:gd name="connsiteX37" fmla="*/ 11493226 w 12191998"/>
              <a:gd name="connsiteY37" fmla="*/ 411217 h 6858000"/>
              <a:gd name="connsiteX38" fmla="*/ 11363814 w 12191998"/>
              <a:gd name="connsiteY38" fmla="*/ 411217 h 6858000"/>
              <a:gd name="connsiteX39" fmla="*/ 11331108 w 12191998"/>
              <a:gd name="connsiteY39" fmla="*/ 374511 h 6858000"/>
              <a:gd name="connsiteX40" fmla="*/ 11369226 w 12191998"/>
              <a:gd name="connsiteY40" fmla="*/ 338982 h 6858000"/>
              <a:gd name="connsiteX41" fmla="*/ 11545932 w 12191998"/>
              <a:gd name="connsiteY41" fmla="*/ 338982 h 6858000"/>
              <a:gd name="connsiteX42" fmla="*/ 11545932 w 12191998"/>
              <a:gd name="connsiteY42" fmla="*/ 297099 h 6858000"/>
              <a:gd name="connsiteX43" fmla="*/ 11686167 w 12191998"/>
              <a:gd name="connsiteY43" fmla="*/ 296864 h 6858000"/>
              <a:gd name="connsiteX44" fmla="*/ 11612284 w 12191998"/>
              <a:gd name="connsiteY44" fmla="*/ 313805 h 6858000"/>
              <a:gd name="connsiteX45" fmla="*/ 11586402 w 12191998"/>
              <a:gd name="connsiteY45" fmla="*/ 384393 h 6858000"/>
              <a:gd name="connsiteX46" fmla="*/ 11586402 w 12191998"/>
              <a:gd name="connsiteY46" fmla="*/ 483923 h 6858000"/>
              <a:gd name="connsiteX47" fmla="*/ 11613931 w 12191998"/>
              <a:gd name="connsiteY47" fmla="*/ 558276 h 6858000"/>
              <a:gd name="connsiteX48" fmla="*/ 11686402 w 12191998"/>
              <a:gd name="connsiteY48" fmla="*/ 572629 h 6858000"/>
              <a:gd name="connsiteX49" fmla="*/ 11807108 w 12191998"/>
              <a:gd name="connsiteY49" fmla="*/ 572629 h 6858000"/>
              <a:gd name="connsiteX50" fmla="*/ 11807108 w 12191998"/>
              <a:gd name="connsiteY50" fmla="*/ 583217 h 6858000"/>
              <a:gd name="connsiteX51" fmla="*/ 11779108 w 12191998"/>
              <a:gd name="connsiteY51" fmla="*/ 613099 h 6858000"/>
              <a:gd name="connsiteX52" fmla="*/ 11621696 w 12191998"/>
              <a:gd name="connsiteY52" fmla="*/ 613099 h 6858000"/>
              <a:gd name="connsiteX53" fmla="*/ 11621696 w 12191998"/>
              <a:gd name="connsiteY53" fmla="*/ 657335 h 6858000"/>
              <a:gd name="connsiteX54" fmla="*/ 11795343 w 12191998"/>
              <a:gd name="connsiteY54" fmla="*/ 657335 h 6858000"/>
              <a:gd name="connsiteX55" fmla="*/ 11857226 w 12191998"/>
              <a:gd name="connsiteY55" fmla="*/ 597099 h 6858000"/>
              <a:gd name="connsiteX56" fmla="*/ 11857226 w 12191998"/>
              <a:gd name="connsiteY56" fmla="*/ 296864 h 6858000"/>
              <a:gd name="connsiteX57" fmla="*/ 0 w 12191998"/>
              <a:gd name="connsiteY57" fmla="*/ 0 h 6858000"/>
              <a:gd name="connsiteX58" fmla="*/ 12191998 w 12191998"/>
              <a:gd name="connsiteY58" fmla="*/ 0 h 6858000"/>
              <a:gd name="connsiteX59" fmla="*/ 12191998 w 12191998"/>
              <a:gd name="connsiteY59" fmla="*/ 6858000 h 6858000"/>
              <a:gd name="connsiteX60" fmla="*/ 0 w 12191998"/>
              <a:gd name="connsiteY6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91998" h="6858000">
                <a:moveTo>
                  <a:pt x="10764520" y="454511"/>
                </a:moveTo>
                <a:cubicBezTo>
                  <a:pt x="10731344" y="454511"/>
                  <a:pt x="10704520" y="481335"/>
                  <a:pt x="10704520" y="514511"/>
                </a:cubicBezTo>
                <a:cubicBezTo>
                  <a:pt x="10704520" y="547687"/>
                  <a:pt x="10731344" y="574511"/>
                  <a:pt x="10764520" y="574511"/>
                </a:cubicBezTo>
                <a:cubicBezTo>
                  <a:pt x="10797697" y="574511"/>
                  <a:pt x="10824520" y="547687"/>
                  <a:pt x="10824520" y="514511"/>
                </a:cubicBezTo>
                <a:cubicBezTo>
                  <a:pt x="10824520" y="481335"/>
                  <a:pt x="10797697" y="454511"/>
                  <a:pt x="10764520" y="454511"/>
                </a:cubicBezTo>
                <a:close/>
                <a:moveTo>
                  <a:pt x="11703579" y="338982"/>
                </a:moveTo>
                <a:lnTo>
                  <a:pt x="11807108" y="338982"/>
                </a:lnTo>
                <a:lnTo>
                  <a:pt x="11807108" y="530746"/>
                </a:lnTo>
                <a:lnTo>
                  <a:pt x="11701461" y="530746"/>
                </a:lnTo>
                <a:cubicBezTo>
                  <a:pt x="11670167" y="530982"/>
                  <a:pt x="11638637" y="533099"/>
                  <a:pt x="11637696" y="492629"/>
                </a:cubicBezTo>
                <a:cubicBezTo>
                  <a:pt x="11637696" y="490982"/>
                  <a:pt x="11637461" y="476158"/>
                  <a:pt x="11637696" y="432864"/>
                </a:cubicBezTo>
                <a:cubicBezTo>
                  <a:pt x="11637932" y="396158"/>
                  <a:pt x="11637461" y="387452"/>
                  <a:pt x="11637696" y="383688"/>
                </a:cubicBezTo>
                <a:cubicBezTo>
                  <a:pt x="11639343" y="349805"/>
                  <a:pt x="11651814" y="337805"/>
                  <a:pt x="11703579" y="338982"/>
                </a:cubicBezTo>
                <a:close/>
                <a:moveTo>
                  <a:pt x="10863343" y="296864"/>
                </a:moveTo>
                <a:lnTo>
                  <a:pt x="10863343" y="572629"/>
                </a:lnTo>
                <a:lnTo>
                  <a:pt x="10913696" y="572629"/>
                </a:lnTo>
                <a:lnTo>
                  <a:pt x="10913696" y="338746"/>
                </a:lnTo>
                <a:lnTo>
                  <a:pt x="11028990" y="338746"/>
                </a:lnTo>
                <a:lnTo>
                  <a:pt x="11028990" y="572629"/>
                </a:lnTo>
                <a:lnTo>
                  <a:pt x="11079578" y="572629"/>
                </a:lnTo>
                <a:lnTo>
                  <a:pt x="11079578" y="338746"/>
                </a:lnTo>
                <a:lnTo>
                  <a:pt x="11156284" y="338746"/>
                </a:lnTo>
                <a:cubicBezTo>
                  <a:pt x="11182167" y="338746"/>
                  <a:pt x="11200520" y="354276"/>
                  <a:pt x="11200520" y="387923"/>
                </a:cubicBezTo>
                <a:lnTo>
                  <a:pt x="11200520" y="572629"/>
                </a:lnTo>
                <a:lnTo>
                  <a:pt x="11250873" y="572629"/>
                </a:lnTo>
                <a:lnTo>
                  <a:pt x="11250873" y="374040"/>
                </a:lnTo>
                <a:cubicBezTo>
                  <a:pt x="11250873" y="336393"/>
                  <a:pt x="11231579" y="296864"/>
                  <a:pt x="11181696" y="296864"/>
                </a:cubicBezTo>
                <a:close/>
                <a:moveTo>
                  <a:pt x="11351579" y="296864"/>
                </a:moveTo>
                <a:cubicBezTo>
                  <a:pt x="11297226" y="296864"/>
                  <a:pt x="11280755" y="333099"/>
                  <a:pt x="11280755" y="373335"/>
                </a:cubicBezTo>
                <a:cubicBezTo>
                  <a:pt x="11280755" y="416629"/>
                  <a:pt x="11298637" y="452864"/>
                  <a:pt x="11348049" y="452864"/>
                </a:cubicBezTo>
                <a:lnTo>
                  <a:pt x="11467814" y="452864"/>
                </a:lnTo>
                <a:cubicBezTo>
                  <a:pt x="11504520" y="452864"/>
                  <a:pt x="11504520" y="481099"/>
                  <a:pt x="11504520" y="494040"/>
                </a:cubicBezTo>
                <a:cubicBezTo>
                  <a:pt x="11504520" y="506040"/>
                  <a:pt x="11504520" y="530746"/>
                  <a:pt x="11468755" y="530746"/>
                </a:cubicBezTo>
                <a:lnTo>
                  <a:pt x="11285461" y="530746"/>
                </a:lnTo>
                <a:lnTo>
                  <a:pt x="11285461" y="572864"/>
                </a:lnTo>
                <a:lnTo>
                  <a:pt x="11489932" y="572864"/>
                </a:lnTo>
                <a:cubicBezTo>
                  <a:pt x="11540991" y="572864"/>
                  <a:pt x="11555579" y="542982"/>
                  <a:pt x="11555579" y="494511"/>
                </a:cubicBezTo>
                <a:cubicBezTo>
                  <a:pt x="11555579" y="436864"/>
                  <a:pt x="11536755" y="411217"/>
                  <a:pt x="11493226" y="411217"/>
                </a:cubicBezTo>
                <a:lnTo>
                  <a:pt x="11363814" y="411217"/>
                </a:lnTo>
                <a:cubicBezTo>
                  <a:pt x="11331108" y="411217"/>
                  <a:pt x="11331108" y="389099"/>
                  <a:pt x="11331108" y="374511"/>
                </a:cubicBezTo>
                <a:cubicBezTo>
                  <a:pt x="11331108" y="362982"/>
                  <a:pt x="11334402" y="338982"/>
                  <a:pt x="11369226" y="338982"/>
                </a:cubicBezTo>
                <a:lnTo>
                  <a:pt x="11545932" y="338982"/>
                </a:lnTo>
                <a:lnTo>
                  <a:pt x="11545932" y="297099"/>
                </a:lnTo>
                <a:close/>
                <a:moveTo>
                  <a:pt x="11686167" y="296864"/>
                </a:moveTo>
                <a:cubicBezTo>
                  <a:pt x="11641226" y="296864"/>
                  <a:pt x="11624520" y="303923"/>
                  <a:pt x="11612284" y="313805"/>
                </a:cubicBezTo>
                <a:cubicBezTo>
                  <a:pt x="11598873" y="324629"/>
                  <a:pt x="11586637" y="338040"/>
                  <a:pt x="11586402" y="384393"/>
                </a:cubicBezTo>
                <a:lnTo>
                  <a:pt x="11586402" y="483923"/>
                </a:lnTo>
                <a:cubicBezTo>
                  <a:pt x="11586402" y="532864"/>
                  <a:pt x="11600049" y="546746"/>
                  <a:pt x="11613931" y="558276"/>
                </a:cubicBezTo>
                <a:cubicBezTo>
                  <a:pt x="11623343" y="564864"/>
                  <a:pt x="11638873" y="572629"/>
                  <a:pt x="11686402" y="572629"/>
                </a:cubicBezTo>
                <a:lnTo>
                  <a:pt x="11807108" y="572629"/>
                </a:lnTo>
                <a:lnTo>
                  <a:pt x="11807108" y="583217"/>
                </a:lnTo>
                <a:cubicBezTo>
                  <a:pt x="11807108" y="604158"/>
                  <a:pt x="11803108" y="613099"/>
                  <a:pt x="11779108" y="613099"/>
                </a:cubicBezTo>
                <a:lnTo>
                  <a:pt x="11621696" y="613099"/>
                </a:lnTo>
                <a:lnTo>
                  <a:pt x="11621696" y="657335"/>
                </a:lnTo>
                <a:lnTo>
                  <a:pt x="11795343" y="657335"/>
                </a:lnTo>
                <a:cubicBezTo>
                  <a:pt x="11842167" y="657335"/>
                  <a:pt x="11857226" y="636393"/>
                  <a:pt x="11857226" y="597099"/>
                </a:cubicBezTo>
                <a:lnTo>
                  <a:pt x="11857226" y="296864"/>
                </a:lnTo>
                <a:close/>
                <a:moveTo>
                  <a:pt x="0" y="0"/>
                </a:moveTo>
                <a:lnTo>
                  <a:pt x="12191998" y="0"/>
                </a:lnTo>
                <a:lnTo>
                  <a:pt x="12191998" y="6858000"/>
                </a:lnTo>
                <a:lnTo>
                  <a:pt x="0" y="6858000"/>
                </a:lnTo>
                <a:close/>
              </a:path>
            </a:pathLst>
          </a:custGeom>
          <a:solidFill>
            <a:schemeClr val="bg2"/>
          </a:solidFill>
        </p:spPr>
        <p:txBody>
          <a:bodyPr wrap="square">
            <a:noAutofit/>
          </a:bodyPr>
          <a:lstStyle/>
          <a:p>
            <a:r>
              <a:rPr lang="de-DE"/>
              <a:t>Bild durch Klicken auf Symbol hinzufügen</a:t>
            </a:r>
          </a:p>
        </p:txBody>
      </p:sp>
      <p:sp>
        <p:nvSpPr>
          <p:cNvPr id="36" name="Titel 35">
            <a:extLst>
              <a:ext uri="{FF2B5EF4-FFF2-40B4-BE49-F238E27FC236}">
                <a16:creationId xmlns:a16="http://schemas.microsoft.com/office/drawing/2014/main" id="{96C8531C-5AF0-B253-98FC-D9C844FE91DB}"/>
              </a:ext>
            </a:extLst>
          </p:cNvPr>
          <p:cNvSpPr>
            <a:spLocks noGrp="1"/>
          </p:cNvSpPr>
          <p:nvPr>
            <p:ph type="title"/>
          </p:nvPr>
        </p:nvSpPr>
        <p:spPr bwMode="gray">
          <a:xfrm>
            <a:off x="623887" y="3501069"/>
            <a:ext cx="6284912" cy="2591755"/>
          </a:xfrm>
          <a:custGeom>
            <a:avLst/>
            <a:gdLst>
              <a:gd name="connsiteX0" fmla="*/ 0 w 6284912"/>
              <a:gd name="connsiteY0" fmla="*/ 0 h 2522538"/>
              <a:gd name="connsiteX1" fmla="*/ 254000 w 6284912"/>
              <a:gd name="connsiteY1" fmla="*/ 0 h 2522538"/>
              <a:gd name="connsiteX2" fmla="*/ 6030912 w 6284912"/>
              <a:gd name="connsiteY2" fmla="*/ 0 h 2522538"/>
              <a:gd name="connsiteX3" fmla="*/ 6064518 w 6284912"/>
              <a:gd name="connsiteY3" fmla="*/ 0 h 2522538"/>
              <a:gd name="connsiteX4" fmla="*/ 6284912 w 6284912"/>
              <a:gd name="connsiteY4" fmla="*/ 220394 h 2522538"/>
              <a:gd name="connsiteX5" fmla="*/ 6284912 w 6284912"/>
              <a:gd name="connsiteY5" fmla="*/ 2522538 h 2522538"/>
              <a:gd name="connsiteX6" fmla="*/ 6030912 w 6284912"/>
              <a:gd name="connsiteY6" fmla="*/ 2522538 h 2522538"/>
              <a:gd name="connsiteX7" fmla="*/ 254000 w 6284912"/>
              <a:gd name="connsiteY7" fmla="*/ 2522538 h 2522538"/>
              <a:gd name="connsiteX8" fmla="*/ 220394 w 6284912"/>
              <a:gd name="connsiteY8" fmla="*/ 2522538 h 2522538"/>
              <a:gd name="connsiteX9" fmla="*/ 0 w 6284912"/>
              <a:gd name="connsiteY9" fmla="*/ 2302144 h 252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4912" h="2522538">
                <a:moveTo>
                  <a:pt x="0" y="0"/>
                </a:moveTo>
                <a:lnTo>
                  <a:pt x="254000" y="0"/>
                </a:lnTo>
                <a:lnTo>
                  <a:pt x="6030912" y="0"/>
                </a:lnTo>
                <a:lnTo>
                  <a:pt x="6064518" y="0"/>
                </a:lnTo>
                <a:cubicBezTo>
                  <a:pt x="6186238" y="0"/>
                  <a:pt x="6284912" y="98674"/>
                  <a:pt x="6284912" y="220394"/>
                </a:cubicBezTo>
                <a:lnTo>
                  <a:pt x="6284912" y="2522538"/>
                </a:lnTo>
                <a:lnTo>
                  <a:pt x="6030912" y="2522538"/>
                </a:lnTo>
                <a:lnTo>
                  <a:pt x="254000" y="2522538"/>
                </a:lnTo>
                <a:lnTo>
                  <a:pt x="220394" y="2522538"/>
                </a:lnTo>
                <a:cubicBezTo>
                  <a:pt x="98674" y="2522538"/>
                  <a:pt x="0" y="2423864"/>
                  <a:pt x="0" y="2302144"/>
                </a:cubicBezTo>
                <a:close/>
              </a:path>
            </a:pathLst>
          </a:custGeom>
          <a:solidFill>
            <a:schemeClr val="bg1"/>
          </a:solidFill>
        </p:spPr>
        <p:txBody>
          <a:bodyPr vert="horz" wrap="square" lIns="1008000" tIns="216000" rIns="288000" bIns="216000" anchor="t">
            <a:noAutofit/>
          </a:bodyPr>
          <a:lstStyle>
            <a:lvl1pPr rtl="0">
              <a:spcAft>
                <a:spcPts val="600"/>
              </a:spcAft>
              <a:defRPr sz="3600">
                <a:solidFill>
                  <a:schemeClr val="accent1"/>
                </a:solidFill>
              </a:defRPr>
            </a:lvl1pPr>
          </a:lstStyle>
          <a:p>
            <a:r>
              <a:rPr lang="de-DE"/>
              <a:t>Mastertitelformat bearbeiten</a:t>
            </a:r>
          </a:p>
        </p:txBody>
      </p:sp>
      <p:sp>
        <p:nvSpPr>
          <p:cNvPr id="3" name="Textplatzhalter 2">
            <a:extLst>
              <a:ext uri="{FF2B5EF4-FFF2-40B4-BE49-F238E27FC236}">
                <a16:creationId xmlns:a16="http://schemas.microsoft.com/office/drawing/2014/main" id="{FBE249F0-AC7A-6A7E-2976-07517C51C45C}"/>
              </a:ext>
            </a:extLst>
          </p:cNvPr>
          <p:cNvSpPr>
            <a:spLocks noGrp="1"/>
          </p:cNvSpPr>
          <p:nvPr>
            <p:ph type="body" sz="quarter" idx="17" hasCustomPrompt="1"/>
          </p:nvPr>
        </p:nvSpPr>
        <p:spPr>
          <a:xfrm>
            <a:off x="623887" y="3501070"/>
            <a:ext cx="800100" cy="772107"/>
          </a:xfrm>
        </p:spPr>
        <p:txBody>
          <a:bodyPr lIns="288000" tIns="216000">
            <a:noAutofit/>
          </a:bodyPr>
          <a:lstStyle>
            <a:lvl1pPr algn="r">
              <a:defRPr sz="3600" b="1">
                <a:solidFill>
                  <a:schemeClr val="accent1"/>
                </a:solidFill>
                <a:latin typeface="+mj-lt"/>
              </a:defRPr>
            </a:lvl1pPr>
          </a:lstStyle>
          <a:p>
            <a:pPr lvl="0"/>
            <a:r>
              <a:rPr lang="de-DE" dirty="0"/>
              <a:t>01</a:t>
            </a:r>
          </a:p>
        </p:txBody>
      </p:sp>
      <p:sp>
        <p:nvSpPr>
          <p:cNvPr id="30" name="Fußzeilenplatzhalter 29">
            <a:extLst>
              <a:ext uri="{FF2B5EF4-FFF2-40B4-BE49-F238E27FC236}">
                <a16:creationId xmlns:a16="http://schemas.microsoft.com/office/drawing/2014/main" id="{AB3B4481-ACE7-EC01-A2C2-1A6C55C2CB1F}"/>
              </a:ext>
            </a:extLst>
          </p:cNvPr>
          <p:cNvSpPr>
            <a:spLocks noGrp="1"/>
          </p:cNvSpPr>
          <p:nvPr>
            <p:ph type="ftr" sz="quarter" idx="18"/>
          </p:nvPr>
        </p:nvSpPr>
        <p:spPr/>
        <p:txBody>
          <a:bodyPr/>
          <a:lstStyle/>
          <a:p>
            <a:endParaRPr lang="en-US"/>
          </a:p>
        </p:txBody>
      </p:sp>
      <p:sp>
        <p:nvSpPr>
          <p:cNvPr id="73" name="Foliennummernplatzhalter 72">
            <a:extLst>
              <a:ext uri="{FF2B5EF4-FFF2-40B4-BE49-F238E27FC236}">
                <a16:creationId xmlns:a16="http://schemas.microsoft.com/office/drawing/2014/main" id="{687FF98D-9179-89D6-B2D1-19E157813367}"/>
              </a:ext>
            </a:extLst>
          </p:cNvPr>
          <p:cNvSpPr>
            <a:spLocks noGrp="1"/>
          </p:cNvSpPr>
          <p:nvPr>
            <p:ph type="sldNum" sz="quarter" idx="19"/>
          </p:nvPr>
        </p:nvSpPr>
        <p:spPr/>
        <p:txBody>
          <a:bodyPr/>
          <a:lstStyle/>
          <a:p>
            <a:fld id="{C7D046C8-03B9-4997-9490-81EAE2ED7C49}" type="slidenum">
              <a:rPr lang="en-US" smtClean="0"/>
              <a:t>‹Nr.›</a:t>
            </a:fld>
            <a:endParaRPr lang="en-US"/>
          </a:p>
        </p:txBody>
      </p:sp>
      <p:grpSp>
        <p:nvGrpSpPr>
          <p:cNvPr id="51" name="Gruppieren 50">
            <a:extLst>
              <a:ext uri="{FF2B5EF4-FFF2-40B4-BE49-F238E27FC236}">
                <a16:creationId xmlns:a16="http://schemas.microsoft.com/office/drawing/2014/main" id="{D30454BE-5DD4-6C5C-9B16-5C47ACF1A8DA}"/>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09748565-9A17-43EF-EB89-D4A0B74B57E3}"/>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86B1E96-9338-B5E0-77FA-C470E0504B2E}"/>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23AEFC0B-3357-8281-ECC6-905453CCD4B3}"/>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79A76A7A-4A89-29AA-6E90-B4DF8A96366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D2B29119-661E-C7A4-D412-2008CFAA8B2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74" name="Gruppieren 73">
            <a:extLst>
              <a:ext uri="{FF2B5EF4-FFF2-40B4-BE49-F238E27FC236}">
                <a16:creationId xmlns:a16="http://schemas.microsoft.com/office/drawing/2014/main" id="{664E7908-DBD1-F7A9-1BFB-CB99F440DEB7}"/>
              </a:ext>
              <a:ext uri="{C183D7F6-B498-43B3-948B-1728B52AA6E4}">
                <adec:decorative xmlns:adec="http://schemas.microsoft.com/office/drawing/2017/decorative" val="1"/>
              </a:ext>
            </a:extLst>
          </p:cNvPr>
          <p:cNvGrpSpPr/>
          <p:nvPr/>
        </p:nvGrpSpPr>
        <p:grpSpPr bwMode="gray">
          <a:xfrm>
            <a:off x="-254000" y="296863"/>
            <a:ext cx="144000" cy="6300787"/>
            <a:chOff x="0" y="296863"/>
            <a:chExt cx="12192000" cy="6300787"/>
          </a:xfrm>
        </p:grpSpPr>
        <p:cxnSp>
          <p:nvCxnSpPr>
            <p:cNvPr id="85" name="Gerader Verbinder 84">
              <a:extLst>
                <a:ext uri="{FF2B5EF4-FFF2-40B4-BE49-F238E27FC236}">
                  <a16:creationId xmlns:a16="http://schemas.microsoft.com/office/drawing/2014/main" id="{3569A712-8A5D-61A9-A4E2-A66D7DF41364}"/>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5F4C2EB6-5306-EED4-C63B-B258B284337D}"/>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2" name="Gerader Verbinder 111">
              <a:extLst>
                <a:ext uri="{FF2B5EF4-FFF2-40B4-BE49-F238E27FC236}">
                  <a16:creationId xmlns:a16="http://schemas.microsoft.com/office/drawing/2014/main" id="{BF5A0AFC-C635-255F-B34C-9740433A2AEA}"/>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D8F9C328-FF3B-D652-2F1B-495F008A1A9D}"/>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id="{B57D5572-CC62-B60E-67F7-1F2F25BEDBD3}"/>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2" name="Gerader Verbinder 191">
              <a:extLst>
                <a:ext uri="{FF2B5EF4-FFF2-40B4-BE49-F238E27FC236}">
                  <a16:creationId xmlns:a16="http://schemas.microsoft.com/office/drawing/2014/main" id="{D32CF0AB-B445-A814-7D1B-0BFB0DAC7E7D}"/>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0A7BCC33-CF5C-1616-52F2-884E1C277F5D}"/>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4" name="Gruppieren 193">
            <a:extLst>
              <a:ext uri="{FF2B5EF4-FFF2-40B4-BE49-F238E27FC236}">
                <a16:creationId xmlns:a16="http://schemas.microsoft.com/office/drawing/2014/main" id="{5C834498-9640-5918-501F-1DE7C8A09F26}"/>
              </a:ext>
              <a:ext uri="{C183D7F6-B498-43B3-948B-1728B52AA6E4}">
                <adec:decorative xmlns:adec="http://schemas.microsoft.com/office/drawing/2017/decorative" val="1"/>
              </a:ext>
            </a:extLst>
          </p:cNvPr>
          <p:cNvGrpSpPr/>
          <p:nvPr/>
        </p:nvGrpSpPr>
        <p:grpSpPr bwMode="gray">
          <a:xfrm>
            <a:off x="12301940" y="296863"/>
            <a:ext cx="144000" cy="6300787"/>
            <a:chOff x="0" y="296863"/>
            <a:chExt cx="12192000" cy="6300787"/>
          </a:xfrm>
        </p:grpSpPr>
        <p:cxnSp>
          <p:nvCxnSpPr>
            <p:cNvPr id="195" name="Gerader Verbinder 194">
              <a:extLst>
                <a:ext uri="{FF2B5EF4-FFF2-40B4-BE49-F238E27FC236}">
                  <a16:creationId xmlns:a16="http://schemas.microsoft.com/office/drawing/2014/main" id="{FB855145-B12E-78F7-DA5F-2449FF7C3C67}"/>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E3A21647-9DBA-0807-48F2-78AFC1BA8F36}"/>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BA4216C1-1CC0-B713-4472-BBA62EB34542}"/>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156CA3E9-87F7-1EAC-37AB-01022F50DA84}"/>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D026C257-E2CE-EA9B-2EE8-240F9342FF3D}"/>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43532555-4104-CDAA-BB37-3521FAA2EA2B}"/>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091E8425-E3A4-9374-EBB5-B12E40FA865A}"/>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09851464"/>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3508901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8833"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8833" cy="738664"/>
          </a:xfrm>
        </p:spPr>
        <p:txBody>
          <a:bodyPr vert="horz"/>
          <a:lstStyle>
            <a:lvl1pPr rtl="0">
              <a:defRPr/>
            </a:lvl1pPr>
          </a:lstStyle>
          <a:p>
            <a:r>
              <a:rPr lang="de-DE"/>
              <a:t>Mastertitelformat bearbeiten</a:t>
            </a:r>
          </a:p>
        </p:txBody>
      </p:sp>
      <p:sp>
        <p:nvSpPr>
          <p:cNvPr id="3" name="Inhaltsplatzhalter 2">
            <a:extLst>
              <a:ext uri="{FF2B5EF4-FFF2-40B4-BE49-F238E27FC236}">
                <a16:creationId xmlns:a16="http://schemas.microsoft.com/office/drawing/2014/main" id="{44D960F1-7AD1-ECFD-1961-13F488B14822}"/>
              </a:ext>
            </a:extLst>
          </p:cNvPr>
          <p:cNvSpPr>
            <a:spLocks noGrp="1"/>
          </p:cNvSpPr>
          <p:nvPr>
            <p:ph idx="1"/>
          </p:nvPr>
        </p:nvSpPr>
        <p:spPr bwMode="gray">
          <a:xfrm>
            <a:off x="623888" y="1773239"/>
            <a:ext cx="11233150" cy="4319586"/>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endParaRPr lang="en-US"/>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C7D046C8-03B9-4997-9490-81EAE2ED7C49}" type="slidenum">
              <a:rPr lang="en-US" smtClean="0"/>
              <a:t>‹Nr.›</a:t>
            </a:fld>
            <a:endParaRPr lang="en-US"/>
          </a:p>
        </p:txBody>
      </p:sp>
    </p:spTree>
    <p:extLst>
      <p:ext uri="{BB962C8B-B14F-4D97-AF65-F5344CB8AC3E}">
        <p14:creationId xmlns:p14="http://schemas.microsoft.com/office/powerpoint/2010/main" val="4241931566"/>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1111375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8833"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8833" cy="738664"/>
          </a:xfrm>
        </p:spPr>
        <p:txBody>
          <a:bodyPr vert="horz"/>
          <a:lstStyle>
            <a:lvl1pPr rtl="0">
              <a:defRPr/>
            </a:lvl1pPr>
          </a:lstStyle>
          <a:p>
            <a:r>
              <a:rPr lang="de-DE"/>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endParaRPr lang="en-US"/>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C7D046C8-03B9-4997-9490-81EAE2ED7C49}" type="slidenum">
              <a:rPr lang="en-US" smtClean="0"/>
              <a:t>‹Nr.›</a:t>
            </a:fld>
            <a:endParaRPr lang="en-US"/>
          </a:p>
        </p:txBody>
      </p:sp>
    </p:spTree>
    <p:extLst>
      <p:ext uri="{BB962C8B-B14F-4D97-AF65-F5344CB8AC3E}">
        <p14:creationId xmlns:p14="http://schemas.microsoft.com/office/powerpoint/2010/main" val="3154597147"/>
      </p:ext>
    </p:extLst>
  </p:cSld>
  <p:clrMapOvr>
    <a:masterClrMapping/>
  </p:clrMapOvr>
  <p:hf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4.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3.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7DE90A7-8267-18E1-E5C9-DF0778EB22B2}"/>
              </a:ext>
            </a:extLst>
          </p:cNvPr>
          <p:cNvGraphicFramePr>
            <a:graphicFrameLocks noChangeAspect="1"/>
          </p:cNvGraphicFramePr>
          <p:nvPr>
            <p:custDataLst>
              <p:tags r:id="rId28"/>
            </p:custDataLst>
            <p:extLst>
              <p:ext uri="{D42A27DB-BD31-4B8C-83A1-F6EECF244321}">
                <p14:modId xmlns:p14="http://schemas.microsoft.com/office/powerpoint/2010/main" val="925284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9" imgW="306" imgH="306" progId="TCLayout.ActiveDocument.1">
                  <p:embed/>
                </p:oleObj>
              </mc:Choice>
              <mc:Fallback>
                <p:oleObj name="think-cell Folie" r:id="rId29" imgW="306" imgH="306" progId="TCLayout.ActiveDocument.1">
                  <p:embed/>
                  <p:pic>
                    <p:nvPicPr>
                      <p:cNvPr id="10" name="think-cell data - do not delete" hidden="1">
                        <a:extLst>
                          <a:ext uri="{FF2B5EF4-FFF2-40B4-BE49-F238E27FC236}">
                            <a16:creationId xmlns:a16="http://schemas.microsoft.com/office/drawing/2014/main" id="{E7DE90A7-8267-18E1-E5C9-DF0778EB22B2}"/>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71DEA57D-0933-330D-1A21-BBBCBFBC2C04}"/>
              </a:ext>
            </a:extLst>
          </p:cNvPr>
          <p:cNvSpPr>
            <a:spLocks noGrp="1"/>
          </p:cNvSpPr>
          <p:nvPr>
            <p:ph type="title"/>
          </p:nvPr>
        </p:nvSpPr>
        <p:spPr bwMode="gray">
          <a:xfrm>
            <a:off x="623888" y="620713"/>
            <a:ext cx="9488833" cy="738664"/>
          </a:xfrm>
          <a:prstGeom prst="rect">
            <a:avLst/>
          </a:prstGeom>
        </p:spPr>
        <p:txBody>
          <a:bodyPr vert="horz" lIns="0" tIns="0" rIns="0" bIns="0" rtlCol="0" anchor="t">
            <a:noAutofit/>
          </a:bodyPr>
          <a:lstStyle/>
          <a:p>
            <a:r>
              <a:rPr lang="de-DE" dirty="0"/>
              <a:t>Mastertitelformat bearbeiten</a:t>
            </a:r>
          </a:p>
        </p:txBody>
      </p:sp>
      <p:sp>
        <p:nvSpPr>
          <p:cNvPr id="3" name="Textplatzhalter 2">
            <a:extLst>
              <a:ext uri="{FF2B5EF4-FFF2-40B4-BE49-F238E27FC236}">
                <a16:creationId xmlns:a16="http://schemas.microsoft.com/office/drawing/2014/main" id="{793217BA-CEB0-14EF-174A-68F190647F8C}"/>
              </a:ext>
            </a:extLst>
          </p:cNvPr>
          <p:cNvSpPr>
            <a:spLocks noGrp="1"/>
          </p:cNvSpPr>
          <p:nvPr>
            <p:ph type="body" idx="1"/>
          </p:nvPr>
        </p:nvSpPr>
        <p:spPr bwMode="gray">
          <a:xfrm>
            <a:off x="623888" y="1773239"/>
            <a:ext cx="11233150" cy="4319586"/>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5" name="Fußzeilenplatzhalter 4">
            <a:extLst>
              <a:ext uri="{FF2B5EF4-FFF2-40B4-BE49-F238E27FC236}">
                <a16:creationId xmlns:a16="http://schemas.microsoft.com/office/drawing/2014/main" id="{56803C33-DFCA-0187-4058-79FBA6BBAD89}"/>
              </a:ext>
              <a:ext uri="{C183D7F6-B498-43B3-948B-1728B52AA6E4}">
                <adec:decorative xmlns:adec="http://schemas.microsoft.com/office/drawing/2017/decorative" val="0"/>
              </a:ext>
            </a:extLst>
          </p:cNvPr>
          <p:cNvSpPr>
            <a:spLocks noGrp="1"/>
          </p:cNvSpPr>
          <p:nvPr>
            <p:ph type="ftr" sz="quarter" idx="3"/>
          </p:nvPr>
        </p:nvSpPr>
        <p:spPr bwMode="gray">
          <a:xfrm>
            <a:off x="1271954" y="6443762"/>
            <a:ext cx="4968501" cy="153888"/>
          </a:xfrm>
          <a:prstGeom prst="rect">
            <a:avLst/>
          </a:prstGeom>
        </p:spPr>
        <p:txBody>
          <a:bodyPr vert="horz" lIns="0" tIns="0" rIns="0" bIns="0" rtlCol="0" anchor="ctr">
            <a:noAutofit/>
          </a:bodyPr>
          <a:lstStyle>
            <a:lvl1pPr algn="l" rtl="0">
              <a:defRPr sz="1000">
                <a:solidFill>
                  <a:schemeClr val="tx1"/>
                </a:solidFill>
              </a:defRPr>
            </a:lvl1pPr>
          </a:lstStyle>
          <a:p>
            <a:endParaRPr lang="en-US"/>
          </a:p>
        </p:txBody>
      </p:sp>
      <p:sp>
        <p:nvSpPr>
          <p:cNvPr id="6" name="Foliennummernplatzhalter 5">
            <a:extLst>
              <a:ext uri="{FF2B5EF4-FFF2-40B4-BE49-F238E27FC236}">
                <a16:creationId xmlns:a16="http://schemas.microsoft.com/office/drawing/2014/main" id="{80A50D41-4A4A-3A00-D066-0137414EC1DD}"/>
              </a:ext>
            </a:extLst>
          </p:cNvPr>
          <p:cNvSpPr>
            <a:spLocks noGrp="1"/>
          </p:cNvSpPr>
          <p:nvPr>
            <p:ph type="sldNum" sz="quarter" idx="4"/>
          </p:nvPr>
        </p:nvSpPr>
        <p:spPr bwMode="gray">
          <a:xfrm>
            <a:off x="623888" y="6443762"/>
            <a:ext cx="431620" cy="153888"/>
          </a:xfrm>
          <a:prstGeom prst="rect">
            <a:avLst/>
          </a:prstGeom>
        </p:spPr>
        <p:txBody>
          <a:bodyPr vert="horz" lIns="0" tIns="0" rIns="0" bIns="0" rtlCol="0" anchor="ctr">
            <a:noAutofit/>
          </a:bodyPr>
          <a:lstStyle>
            <a:lvl1pPr algn="l" rtl="0">
              <a:defRPr sz="1000">
                <a:solidFill>
                  <a:schemeClr val="tx1"/>
                </a:solidFill>
              </a:defRPr>
            </a:lvl1pPr>
          </a:lstStyle>
          <a:p>
            <a:fld id="{C7D046C8-03B9-4997-9490-81EAE2ED7C49}" type="slidenum">
              <a:rPr lang="en-US" smtClean="0"/>
              <a:t>‹Nr.›</a:t>
            </a:fld>
            <a:endParaRPr lang="en-US"/>
          </a:p>
        </p:txBody>
      </p:sp>
      <p:pic>
        <p:nvPicPr>
          <p:cNvPr id="24" name="Grafik 23">
            <a:extLst>
              <a:ext uri="{FF2B5EF4-FFF2-40B4-BE49-F238E27FC236}">
                <a16:creationId xmlns:a16="http://schemas.microsoft.com/office/drawing/2014/main" id="{E593CF5D-66D3-4942-D679-8C05C8B4D194}"/>
              </a:ext>
              <a:ext uri="{C183D7F6-B498-43B3-948B-1728B52AA6E4}">
                <adec:decorative xmlns:adec="http://schemas.microsoft.com/office/drawing/2017/decorative" val="1"/>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bwMode="gray">
          <a:xfrm>
            <a:off x="10704521" y="296864"/>
            <a:ext cx="1152942" cy="360000"/>
          </a:xfrm>
          <a:prstGeom prst="rect">
            <a:avLst/>
          </a:prstGeom>
        </p:spPr>
      </p:pic>
      <p:grpSp>
        <p:nvGrpSpPr>
          <p:cNvPr id="51" name="Gruppieren 50">
            <a:extLst>
              <a:ext uri="{FF2B5EF4-FFF2-40B4-BE49-F238E27FC236}">
                <a16:creationId xmlns:a16="http://schemas.microsoft.com/office/drawing/2014/main" id="{21108446-39FE-245F-79D9-41783CB89BEE}"/>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47AB9056-763D-CF2A-3835-E966E55E569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7D0FFE5-048B-3A95-0677-A53C84D9238D}"/>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4" name="Gruppieren 53">
            <a:extLst>
              <a:ext uri="{FF2B5EF4-FFF2-40B4-BE49-F238E27FC236}">
                <a16:creationId xmlns:a16="http://schemas.microsoft.com/office/drawing/2014/main" id="{91A657DD-1BA7-D30E-D368-3E6D9BCC44CE}"/>
              </a:ext>
              <a:ext uri="{C183D7F6-B498-43B3-948B-1728B52AA6E4}">
                <adec:decorative xmlns:adec="http://schemas.microsoft.com/office/drawing/2017/decorative" val="1"/>
              </a:ext>
            </a:extLst>
          </p:cNvPr>
          <p:cNvGrpSpPr/>
          <p:nvPr/>
        </p:nvGrpSpPr>
        <p:grpSpPr bwMode="gray">
          <a:xfrm>
            <a:off x="-254000" y="296863"/>
            <a:ext cx="144000" cy="6300787"/>
            <a:chOff x="0" y="296863"/>
            <a:chExt cx="12192000" cy="6300787"/>
          </a:xfrm>
        </p:grpSpPr>
        <p:cxnSp>
          <p:nvCxnSpPr>
            <p:cNvPr id="55" name="Gerader Verbinder 54">
              <a:extLst>
                <a:ext uri="{FF2B5EF4-FFF2-40B4-BE49-F238E27FC236}">
                  <a16:creationId xmlns:a16="http://schemas.microsoft.com/office/drawing/2014/main" id="{2760F9A3-85A8-DE29-B9FD-358213D43B5D}"/>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BEC9F7A1-C306-6D42-876F-D6EB95AEB9B4}"/>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7DC65ECE-BB1C-B2E8-220C-45A0BC4588B9}"/>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1A9E2C52-F86C-3C7B-9CE6-DDAF8AF98E2D}"/>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664211CC-89CB-3EDC-2AB4-75C908837F21}"/>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5B340371-035E-1547-C4D8-0ADB3A264B72}"/>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0DF5521C-891E-945F-5F9D-47E65D93F574}"/>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D7D20B56-359C-61C7-0969-27A1EB3C1F75}"/>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9AEAE70D-767B-D3C8-A4F3-01CAEECA405D}"/>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3D599645-FF85-81D7-A522-CFECE2EFA759}"/>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5" name="Gruppieren 64">
            <a:extLst>
              <a:ext uri="{FF2B5EF4-FFF2-40B4-BE49-F238E27FC236}">
                <a16:creationId xmlns:a16="http://schemas.microsoft.com/office/drawing/2014/main" id="{5C6E8BDB-4BA9-0655-E433-75329E1034EE}"/>
              </a:ext>
              <a:ext uri="{C183D7F6-B498-43B3-948B-1728B52AA6E4}">
                <adec:decorative xmlns:adec="http://schemas.microsoft.com/office/drawing/2017/decorative" val="1"/>
              </a:ext>
            </a:extLst>
          </p:cNvPr>
          <p:cNvGrpSpPr/>
          <p:nvPr/>
        </p:nvGrpSpPr>
        <p:grpSpPr bwMode="gray">
          <a:xfrm>
            <a:off x="12301940" y="296863"/>
            <a:ext cx="144000" cy="6300787"/>
            <a:chOff x="0" y="296863"/>
            <a:chExt cx="12192000" cy="6300787"/>
          </a:xfrm>
        </p:grpSpPr>
        <p:cxnSp>
          <p:nvCxnSpPr>
            <p:cNvPr id="66" name="Gerader Verbinder 65">
              <a:extLst>
                <a:ext uri="{FF2B5EF4-FFF2-40B4-BE49-F238E27FC236}">
                  <a16:creationId xmlns:a16="http://schemas.microsoft.com/office/drawing/2014/main" id="{41D143D4-1273-746F-FC09-13C960C4D094}"/>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0ACFC045-DDBE-F783-CA7B-919618C51C7B}"/>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298D9EB8-D152-7419-38A8-D10BE1A1364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1F5E32CE-7C39-2482-9352-12138BCC7193}"/>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763494F2-D9AF-07E9-74E4-C451B89031A9}"/>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44AF45AE-F439-5CB9-C87F-677648698555}"/>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10CB1B86-91C0-2AE0-1834-58FEEA66CCB8}"/>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4" name="Grafik 3">
            <a:extLst>
              <a:ext uri="{FF2B5EF4-FFF2-40B4-BE49-F238E27FC236}">
                <a16:creationId xmlns:a16="http://schemas.microsoft.com/office/drawing/2014/main" id="{FC53DB2F-F1AA-3699-3062-5CC457F11C3C}"/>
              </a:ext>
              <a:ext uri="{C183D7F6-B498-43B3-948B-1728B52AA6E4}">
                <adec:decorative xmlns:adec="http://schemas.microsoft.com/office/drawing/2017/decorative" val="1"/>
              </a:ext>
            </a:extLst>
          </p:cNvPr>
          <p:cNvPicPr>
            <a:picLocks/>
          </p:cNvPicPr>
          <p:nvPr/>
        </p:nvPicPr>
        <p:blipFill rotWithShape="1">
          <a:blip r:embed="rId33">
            <a:extLst>
              <a:ext uri="{28A0092B-C50C-407E-A947-70E740481C1C}">
                <a14:useLocalDpi xmlns:a14="http://schemas.microsoft.com/office/drawing/2010/main" val="0"/>
              </a:ext>
            </a:extLst>
          </a:blip>
          <a:srcRect/>
          <a:stretch/>
        </p:blipFill>
        <p:spPr bwMode="gray">
          <a:xfrm>
            <a:off x="623888" y="1485292"/>
            <a:ext cx="1202053" cy="57600"/>
          </a:xfrm>
          <a:prstGeom prst="rect">
            <a:avLst/>
          </a:prstGeom>
        </p:spPr>
      </p:pic>
    </p:spTree>
    <p:extLst>
      <p:ext uri="{BB962C8B-B14F-4D97-AF65-F5344CB8AC3E}">
        <p14:creationId xmlns:p14="http://schemas.microsoft.com/office/powerpoint/2010/main" val="2894724750"/>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 id="2147483684" r:id="rId22"/>
    <p:sldLayoutId id="2147483685" r:id="rId23"/>
    <p:sldLayoutId id="2147483686" r:id="rId24"/>
    <p:sldLayoutId id="2147483687" r:id="rId25"/>
    <p:sldLayoutId id="2147483688" r:id="rId26"/>
  </p:sldLayoutIdLst>
  <p:txStyles>
    <p:title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p:titleStyle>
    <p:bodyStyle>
      <a:lvl1pPr marL="0" indent="0" algn="l" defTabSz="914400" rtl="0" eaLnBrk="1" latinLnBrk="0" hangingPunct="1">
        <a:lnSpc>
          <a:spcPct val="100000"/>
        </a:lnSpc>
        <a:spcBef>
          <a:spcPts val="0"/>
        </a:spcBef>
        <a:spcAft>
          <a:spcPts val="600"/>
        </a:spcAft>
        <a:buFont typeface="Wingdings" panose="05000000000000000000" pitchFamily="2" charset="2"/>
        <a:buNone/>
        <a:defRPr sz="1600" kern="120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5pPr>
      <a:lvl6pPr marL="1080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6pPr>
      <a:lvl7pPr marL="1296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7pPr>
      <a:lvl8pPr marL="1512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8pPr>
      <a:lvl9pPr marL="1728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391">
          <p15:clr>
            <a:srgbClr val="F26B43"/>
          </p15:clr>
        </p15:guide>
        <p15:guide id="5" orient="horz" pos="4156">
          <p15:clr>
            <a:srgbClr val="F26B43"/>
          </p15:clr>
        </p15:guide>
        <p15:guide id="6" orient="horz" pos="3974">
          <p15:clr>
            <a:srgbClr val="F26B43"/>
          </p15:clr>
        </p15:guide>
        <p15:guide id="7" orient="horz" pos="3838">
          <p15:clr>
            <a:srgbClr val="F26B43"/>
          </p15:clr>
        </p15:guide>
        <p15:guide id="8" orient="horz" pos="1117">
          <p15:clr>
            <a:srgbClr val="F26B43"/>
          </p15:clr>
        </p15:guide>
        <p15:guide id="9" pos="7469">
          <p15:clr>
            <a:srgbClr val="F26B43"/>
          </p15:clr>
        </p15:guide>
        <p15:guide id="10" pos="393">
          <p15:clr>
            <a:srgbClr val="F26B43"/>
          </p15:clr>
        </p15:guide>
        <p15:guide id="11" orient="horz" pos="858">
          <p15:clr>
            <a:srgbClr val="F26B43"/>
          </p15:clr>
        </p15:guide>
        <p15:guide id="12" orient="horz" pos="18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hyperlink" Target="https://designthinking-methods.de/3Ideenfindung/6-3-5.html" TargetMode="Externa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hyperlink" Target="https://designthinking-methods.de/en/3Ideenfindung/6-3-5.html" TargetMode="Externa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a:xfrm>
            <a:off x="623888" y="6443762"/>
            <a:ext cx="9328313" cy="153888"/>
          </a:xfrm>
        </p:spPr>
        <p:txBody>
          <a:bodyPr/>
          <a:lstStyle/>
          <a:p>
            <a:pPr marL="6985" indent="-6985"/>
            <a:r>
              <a:rPr lang="de-DE" dirty="0"/>
              <a:t>© msg systems ag | 2024 | Design </a:t>
            </a:r>
            <a:r>
              <a:rPr lang="de-DE" dirty="0" err="1"/>
              <a:t>Thinking</a:t>
            </a:r>
            <a:r>
              <a:rPr lang="de-DE" dirty="0"/>
              <a:t> Templates – 6-3-5 Methode </a:t>
            </a:r>
            <a:r>
              <a:rPr lang="de-DE" dirty="0">
                <a:hlinkClick r:id="rId2"/>
              </a:rPr>
              <a:t>https://designthinking-methods.de/3Ideenfindung/6-3-5.html</a:t>
            </a:r>
            <a:r>
              <a:rPr lang="de-DE" dirty="0"/>
              <a:t> </a:t>
            </a:r>
          </a:p>
        </p:txBody>
      </p:sp>
      <p:sp>
        <p:nvSpPr>
          <p:cNvPr id="4" name="Titel 3"/>
          <p:cNvSpPr>
            <a:spLocks noGrp="1"/>
          </p:cNvSpPr>
          <p:nvPr>
            <p:ph type="title"/>
          </p:nvPr>
        </p:nvSpPr>
        <p:spPr/>
        <p:txBody>
          <a:bodyPr/>
          <a:lstStyle/>
          <a:p>
            <a:r>
              <a:rPr lang="de-DE" dirty="0"/>
              <a:t>6-3-5 Methode (4-3-3)</a:t>
            </a:r>
          </a:p>
        </p:txBody>
      </p:sp>
      <p:sp>
        <p:nvSpPr>
          <p:cNvPr id="2" name="Textplatzhalter 1"/>
          <p:cNvSpPr>
            <a:spLocks noGrp="1"/>
          </p:cNvSpPr>
          <p:nvPr>
            <p:ph type="body" idx="13"/>
          </p:nvPr>
        </p:nvSpPr>
        <p:spPr>
          <a:xfrm>
            <a:off x="623888" y="188863"/>
            <a:ext cx="7480624" cy="216000"/>
          </a:xfrm>
        </p:spPr>
        <p:txBody>
          <a:bodyPr/>
          <a:lstStyle/>
          <a:p>
            <a:r>
              <a:rPr lang="de-DE" dirty="0"/>
              <a:t>Design </a:t>
            </a:r>
            <a:r>
              <a:rPr lang="de-DE" dirty="0" err="1"/>
              <a:t>Thinking</a:t>
            </a:r>
            <a:r>
              <a:rPr lang="de-DE" dirty="0"/>
              <a:t> - </a:t>
            </a:r>
            <a:r>
              <a:rPr lang="de-DE" dirty="0" err="1"/>
              <a:t>Ideate</a:t>
            </a:r>
            <a:endParaRPr lang="de-DE" dirty="0"/>
          </a:p>
        </p:txBody>
      </p:sp>
      <p:graphicFrame>
        <p:nvGraphicFramePr>
          <p:cNvPr id="8" name="Tabelle 7"/>
          <p:cNvGraphicFramePr>
            <a:graphicFrameLocks noGrp="1"/>
          </p:cNvGraphicFramePr>
          <p:nvPr>
            <p:extLst>
              <p:ext uri="{D42A27DB-BD31-4B8C-83A1-F6EECF244321}">
                <p14:modId xmlns:p14="http://schemas.microsoft.com/office/powerpoint/2010/main" val="1590357031"/>
              </p:ext>
            </p:extLst>
          </p:nvPr>
        </p:nvGraphicFramePr>
        <p:xfrm>
          <a:off x="623888" y="1362076"/>
          <a:ext cx="11233149" cy="4730751"/>
        </p:xfrm>
        <a:graphic>
          <a:graphicData uri="http://schemas.openxmlformats.org/drawingml/2006/table">
            <a:tbl>
              <a:tblPr firstRow="1" firstCol="1" bandRow="1">
                <a:tableStyleId>{5C22544A-7EE6-4342-B048-85BDC9FD1C3A}</a:tableStyleId>
              </a:tblPr>
              <a:tblGrid>
                <a:gridCol w="943524">
                  <a:extLst>
                    <a:ext uri="{9D8B030D-6E8A-4147-A177-3AD203B41FA5}">
                      <a16:colId xmlns:a16="http://schemas.microsoft.com/office/drawing/2014/main" val="1181896313"/>
                    </a:ext>
                  </a:extLst>
                </a:gridCol>
                <a:gridCol w="3429875">
                  <a:extLst>
                    <a:ext uri="{9D8B030D-6E8A-4147-A177-3AD203B41FA5}">
                      <a16:colId xmlns:a16="http://schemas.microsoft.com/office/drawing/2014/main" val="3602779778"/>
                    </a:ext>
                  </a:extLst>
                </a:gridCol>
                <a:gridCol w="3429875">
                  <a:extLst>
                    <a:ext uri="{9D8B030D-6E8A-4147-A177-3AD203B41FA5}">
                      <a16:colId xmlns:a16="http://schemas.microsoft.com/office/drawing/2014/main" val="2850416457"/>
                    </a:ext>
                  </a:extLst>
                </a:gridCol>
                <a:gridCol w="3429875">
                  <a:extLst>
                    <a:ext uri="{9D8B030D-6E8A-4147-A177-3AD203B41FA5}">
                      <a16:colId xmlns:a16="http://schemas.microsoft.com/office/drawing/2014/main" val="4193470477"/>
                    </a:ext>
                  </a:extLst>
                </a:gridCol>
              </a:tblGrid>
              <a:tr h="419179">
                <a:tc>
                  <a:txBody>
                    <a:bodyPr/>
                    <a:lstStyle/>
                    <a:p>
                      <a:pPr algn="ctr"/>
                      <a:endParaRPr lang="de-DE"/>
                    </a:p>
                  </a:txBody>
                  <a:tcPr anchor="ctr"/>
                </a:tc>
                <a:tc>
                  <a:txBody>
                    <a:bodyPr/>
                    <a:lstStyle/>
                    <a:p>
                      <a:pPr algn="ctr"/>
                      <a:r>
                        <a:rPr lang="de-DE"/>
                        <a:t>Idee 1</a:t>
                      </a:r>
                    </a:p>
                  </a:txBody>
                  <a:tcPr anchor="ctr"/>
                </a:tc>
                <a:tc>
                  <a:txBody>
                    <a:bodyPr/>
                    <a:lstStyle/>
                    <a:p>
                      <a:pPr algn="ctr"/>
                      <a:r>
                        <a:rPr lang="de-DE" dirty="0"/>
                        <a:t>Idee</a:t>
                      </a:r>
                      <a:r>
                        <a:rPr lang="de-DE" baseline="0" dirty="0"/>
                        <a:t> </a:t>
                      </a:r>
                      <a:r>
                        <a:rPr lang="de-DE" dirty="0"/>
                        <a:t>2</a:t>
                      </a:r>
                    </a:p>
                  </a:txBody>
                  <a:tcPr anchor="ctr"/>
                </a:tc>
                <a:tc>
                  <a:txBody>
                    <a:bodyPr/>
                    <a:lstStyle/>
                    <a:p>
                      <a:pPr algn="ctr"/>
                      <a:r>
                        <a:rPr lang="de-DE"/>
                        <a:t>Idee 3</a:t>
                      </a:r>
                    </a:p>
                  </a:txBody>
                  <a:tcPr anchor="ctr"/>
                </a:tc>
                <a:extLst>
                  <a:ext uri="{0D108BD9-81ED-4DB2-BD59-A6C34878D82A}">
                    <a16:rowId xmlns:a16="http://schemas.microsoft.com/office/drawing/2014/main" val="2736322427"/>
                  </a:ext>
                </a:extLst>
              </a:tr>
              <a:tr h="1077893">
                <a:tc>
                  <a:txBody>
                    <a:bodyPr/>
                    <a:lstStyle/>
                    <a:p>
                      <a:pPr algn="ctr"/>
                      <a:r>
                        <a:rPr lang="de-DE" dirty="0"/>
                        <a:t>1</a:t>
                      </a:r>
                    </a:p>
                  </a:txBody>
                  <a:tcPr anchor="ctr"/>
                </a:tc>
                <a:tc>
                  <a:txBody>
                    <a:bodyPr/>
                    <a:lstStyle/>
                    <a:p>
                      <a:pPr algn="ctr"/>
                      <a:endParaRPr lang="de-DE"/>
                    </a:p>
                  </a:txBody>
                  <a:tcPr/>
                </a:tc>
                <a:tc>
                  <a:txBody>
                    <a:bodyPr/>
                    <a:lstStyle/>
                    <a:p>
                      <a:pPr algn="ctr"/>
                      <a:endParaRPr lang="de-DE"/>
                    </a:p>
                  </a:txBody>
                  <a:tcPr/>
                </a:tc>
                <a:tc>
                  <a:txBody>
                    <a:bodyPr/>
                    <a:lstStyle/>
                    <a:p>
                      <a:pPr algn="ctr"/>
                      <a:endParaRPr lang="de-DE"/>
                    </a:p>
                  </a:txBody>
                  <a:tcPr/>
                </a:tc>
                <a:extLst>
                  <a:ext uri="{0D108BD9-81ED-4DB2-BD59-A6C34878D82A}">
                    <a16:rowId xmlns:a16="http://schemas.microsoft.com/office/drawing/2014/main" val="2542053864"/>
                  </a:ext>
                </a:extLst>
              </a:tr>
              <a:tr h="1077893">
                <a:tc>
                  <a:txBody>
                    <a:bodyPr/>
                    <a:lstStyle/>
                    <a:p>
                      <a:pPr algn="ctr"/>
                      <a:r>
                        <a:rPr lang="de-DE"/>
                        <a:t>2</a:t>
                      </a:r>
                    </a:p>
                  </a:txBody>
                  <a:tcPr anchor="ctr"/>
                </a:tc>
                <a:tc>
                  <a:txBody>
                    <a:bodyPr/>
                    <a:lstStyle/>
                    <a:p>
                      <a:pPr algn="ctr"/>
                      <a:endParaRPr lang="de-DE"/>
                    </a:p>
                  </a:txBody>
                  <a:tcPr/>
                </a:tc>
                <a:tc>
                  <a:txBody>
                    <a:bodyPr/>
                    <a:lstStyle/>
                    <a:p>
                      <a:pPr algn="ctr"/>
                      <a:endParaRPr lang="de-DE"/>
                    </a:p>
                  </a:txBody>
                  <a:tcPr/>
                </a:tc>
                <a:tc>
                  <a:txBody>
                    <a:bodyPr/>
                    <a:lstStyle/>
                    <a:p>
                      <a:pPr algn="ctr"/>
                      <a:endParaRPr lang="de-DE"/>
                    </a:p>
                  </a:txBody>
                  <a:tcPr/>
                </a:tc>
                <a:extLst>
                  <a:ext uri="{0D108BD9-81ED-4DB2-BD59-A6C34878D82A}">
                    <a16:rowId xmlns:a16="http://schemas.microsoft.com/office/drawing/2014/main" val="3608409822"/>
                  </a:ext>
                </a:extLst>
              </a:tr>
              <a:tr h="1077893">
                <a:tc>
                  <a:txBody>
                    <a:bodyPr/>
                    <a:lstStyle/>
                    <a:p>
                      <a:pPr algn="ctr"/>
                      <a:r>
                        <a:rPr lang="de-DE"/>
                        <a:t>3</a:t>
                      </a:r>
                    </a:p>
                  </a:txBody>
                  <a:tcPr anchor="ctr"/>
                </a:tc>
                <a:tc>
                  <a:txBody>
                    <a:bodyPr/>
                    <a:lstStyle/>
                    <a:p>
                      <a:pPr algn="ctr"/>
                      <a:endParaRPr lang="de-DE"/>
                    </a:p>
                  </a:txBody>
                  <a:tcPr/>
                </a:tc>
                <a:tc>
                  <a:txBody>
                    <a:bodyPr/>
                    <a:lstStyle/>
                    <a:p>
                      <a:pPr algn="ctr"/>
                      <a:endParaRPr lang="de-DE"/>
                    </a:p>
                  </a:txBody>
                  <a:tcPr/>
                </a:tc>
                <a:tc>
                  <a:txBody>
                    <a:bodyPr/>
                    <a:lstStyle/>
                    <a:p>
                      <a:pPr algn="ctr"/>
                      <a:endParaRPr lang="de-DE"/>
                    </a:p>
                  </a:txBody>
                  <a:tcPr/>
                </a:tc>
                <a:extLst>
                  <a:ext uri="{0D108BD9-81ED-4DB2-BD59-A6C34878D82A}">
                    <a16:rowId xmlns:a16="http://schemas.microsoft.com/office/drawing/2014/main" val="3022821200"/>
                  </a:ext>
                </a:extLst>
              </a:tr>
              <a:tr h="1077893">
                <a:tc>
                  <a:txBody>
                    <a:bodyPr/>
                    <a:lstStyle/>
                    <a:p>
                      <a:pPr lvl="0" algn="ctr">
                        <a:buNone/>
                      </a:pPr>
                      <a:r>
                        <a:rPr lang="de-DE"/>
                        <a:t>4</a:t>
                      </a:r>
                    </a:p>
                  </a:txBody>
                  <a:tcPr anchor="ctr"/>
                </a:tc>
                <a:tc>
                  <a:txBody>
                    <a:bodyPr/>
                    <a:lstStyle/>
                    <a:p>
                      <a:pPr lvl="0" algn="ctr">
                        <a:buNone/>
                      </a:pPr>
                      <a:endParaRPr lang="de-DE"/>
                    </a:p>
                  </a:txBody>
                  <a:tcPr/>
                </a:tc>
                <a:tc>
                  <a:txBody>
                    <a:bodyPr/>
                    <a:lstStyle/>
                    <a:p>
                      <a:pPr lvl="0" algn="ctr">
                        <a:buNone/>
                      </a:pPr>
                      <a:endParaRPr lang="de-DE"/>
                    </a:p>
                  </a:txBody>
                  <a:tcPr/>
                </a:tc>
                <a:tc>
                  <a:txBody>
                    <a:bodyPr/>
                    <a:lstStyle/>
                    <a:p>
                      <a:pPr lvl="0" algn="ctr">
                        <a:buNone/>
                      </a:pPr>
                      <a:endParaRPr lang="de-DE" dirty="0"/>
                    </a:p>
                  </a:txBody>
                  <a:tcPr/>
                </a:tc>
                <a:extLst>
                  <a:ext uri="{0D108BD9-81ED-4DB2-BD59-A6C34878D82A}">
                    <a16:rowId xmlns:a16="http://schemas.microsoft.com/office/drawing/2014/main" val="3398082888"/>
                  </a:ext>
                </a:extLst>
              </a:tr>
            </a:tbl>
          </a:graphicData>
        </a:graphic>
      </p:graphicFrame>
    </p:spTree>
    <p:extLst>
      <p:ext uri="{BB962C8B-B14F-4D97-AF65-F5344CB8AC3E}">
        <p14:creationId xmlns:p14="http://schemas.microsoft.com/office/powerpoint/2010/main" val="1344855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a:xfrm>
            <a:off x="623888" y="6443762"/>
            <a:ext cx="9328313" cy="153888"/>
          </a:xfrm>
        </p:spPr>
        <p:txBody>
          <a:bodyPr/>
          <a:lstStyle/>
          <a:p>
            <a:pPr marL="6985" indent="-6985"/>
            <a:r>
              <a:rPr lang="de-DE" dirty="0"/>
              <a:t>© msg systems ag | 2024 | Design </a:t>
            </a:r>
            <a:r>
              <a:rPr lang="de-DE" dirty="0" err="1"/>
              <a:t>Thinking</a:t>
            </a:r>
            <a:r>
              <a:rPr lang="de-DE" dirty="0"/>
              <a:t> Templates – 6-3-5 Method </a:t>
            </a:r>
            <a:r>
              <a:rPr lang="de-DE" dirty="0">
                <a:hlinkClick r:id="rId2"/>
              </a:rPr>
              <a:t>https://designthinking-methods.de/en/3Ideenfindung/6-3-5.html</a:t>
            </a:r>
            <a:r>
              <a:rPr lang="de-DE" dirty="0"/>
              <a:t> </a:t>
            </a:r>
          </a:p>
        </p:txBody>
      </p:sp>
      <p:sp>
        <p:nvSpPr>
          <p:cNvPr id="4" name="Titel 3"/>
          <p:cNvSpPr>
            <a:spLocks noGrp="1"/>
          </p:cNvSpPr>
          <p:nvPr>
            <p:ph type="title"/>
          </p:nvPr>
        </p:nvSpPr>
        <p:spPr/>
        <p:txBody>
          <a:bodyPr/>
          <a:lstStyle/>
          <a:p>
            <a:r>
              <a:rPr lang="de-DE" dirty="0"/>
              <a:t>6-3-5 Method (4-3-3)</a:t>
            </a:r>
          </a:p>
        </p:txBody>
      </p:sp>
      <p:sp>
        <p:nvSpPr>
          <p:cNvPr id="2" name="Textplatzhalter 1"/>
          <p:cNvSpPr>
            <a:spLocks noGrp="1"/>
          </p:cNvSpPr>
          <p:nvPr>
            <p:ph type="body" idx="13"/>
          </p:nvPr>
        </p:nvSpPr>
        <p:spPr>
          <a:xfrm>
            <a:off x="623888" y="188863"/>
            <a:ext cx="7480624" cy="216000"/>
          </a:xfrm>
        </p:spPr>
        <p:txBody>
          <a:bodyPr/>
          <a:lstStyle/>
          <a:p>
            <a:r>
              <a:rPr lang="de-DE" dirty="0"/>
              <a:t>Design </a:t>
            </a:r>
            <a:r>
              <a:rPr lang="de-DE" dirty="0" err="1"/>
              <a:t>Thinking</a:t>
            </a:r>
            <a:r>
              <a:rPr lang="de-DE" dirty="0"/>
              <a:t> - </a:t>
            </a:r>
            <a:r>
              <a:rPr lang="de-DE" dirty="0" err="1"/>
              <a:t>Ideate</a:t>
            </a:r>
            <a:endParaRPr lang="de-DE" dirty="0"/>
          </a:p>
        </p:txBody>
      </p:sp>
      <p:graphicFrame>
        <p:nvGraphicFramePr>
          <p:cNvPr id="8" name="Tabelle 7"/>
          <p:cNvGraphicFramePr>
            <a:graphicFrameLocks noGrp="1"/>
          </p:cNvGraphicFramePr>
          <p:nvPr>
            <p:extLst>
              <p:ext uri="{D42A27DB-BD31-4B8C-83A1-F6EECF244321}">
                <p14:modId xmlns:p14="http://schemas.microsoft.com/office/powerpoint/2010/main" val="1132952558"/>
              </p:ext>
            </p:extLst>
          </p:nvPr>
        </p:nvGraphicFramePr>
        <p:xfrm>
          <a:off x="623888" y="1362076"/>
          <a:ext cx="11233149" cy="4730751"/>
        </p:xfrm>
        <a:graphic>
          <a:graphicData uri="http://schemas.openxmlformats.org/drawingml/2006/table">
            <a:tbl>
              <a:tblPr firstRow="1" firstCol="1" bandRow="1">
                <a:tableStyleId>{5C22544A-7EE6-4342-B048-85BDC9FD1C3A}</a:tableStyleId>
              </a:tblPr>
              <a:tblGrid>
                <a:gridCol w="943524">
                  <a:extLst>
                    <a:ext uri="{9D8B030D-6E8A-4147-A177-3AD203B41FA5}">
                      <a16:colId xmlns:a16="http://schemas.microsoft.com/office/drawing/2014/main" val="1181896313"/>
                    </a:ext>
                  </a:extLst>
                </a:gridCol>
                <a:gridCol w="3429875">
                  <a:extLst>
                    <a:ext uri="{9D8B030D-6E8A-4147-A177-3AD203B41FA5}">
                      <a16:colId xmlns:a16="http://schemas.microsoft.com/office/drawing/2014/main" val="3602779778"/>
                    </a:ext>
                  </a:extLst>
                </a:gridCol>
                <a:gridCol w="3429875">
                  <a:extLst>
                    <a:ext uri="{9D8B030D-6E8A-4147-A177-3AD203B41FA5}">
                      <a16:colId xmlns:a16="http://schemas.microsoft.com/office/drawing/2014/main" val="2850416457"/>
                    </a:ext>
                  </a:extLst>
                </a:gridCol>
                <a:gridCol w="3429875">
                  <a:extLst>
                    <a:ext uri="{9D8B030D-6E8A-4147-A177-3AD203B41FA5}">
                      <a16:colId xmlns:a16="http://schemas.microsoft.com/office/drawing/2014/main" val="4193470477"/>
                    </a:ext>
                  </a:extLst>
                </a:gridCol>
              </a:tblGrid>
              <a:tr h="419179">
                <a:tc>
                  <a:txBody>
                    <a:bodyPr/>
                    <a:lstStyle/>
                    <a:p>
                      <a:pPr algn="ctr"/>
                      <a:endParaRPr lang="de-DE"/>
                    </a:p>
                  </a:txBody>
                  <a:tcPr anchor="ctr"/>
                </a:tc>
                <a:tc>
                  <a:txBody>
                    <a:bodyPr/>
                    <a:lstStyle/>
                    <a:p>
                      <a:pPr algn="ctr"/>
                      <a:r>
                        <a:rPr lang="de-DE" dirty="0" err="1"/>
                        <a:t>Idea</a:t>
                      </a:r>
                      <a:r>
                        <a:rPr lang="de-DE" dirty="0"/>
                        <a:t> 1</a:t>
                      </a:r>
                    </a:p>
                  </a:txBody>
                  <a:tcPr anchor="ctr"/>
                </a:tc>
                <a:tc>
                  <a:txBody>
                    <a:bodyPr/>
                    <a:lstStyle/>
                    <a:p>
                      <a:pPr algn="ctr"/>
                      <a:r>
                        <a:rPr lang="de-DE" dirty="0" err="1"/>
                        <a:t>Idea</a:t>
                      </a:r>
                      <a:r>
                        <a:rPr lang="de-DE" baseline="0" dirty="0"/>
                        <a:t> </a:t>
                      </a:r>
                      <a:r>
                        <a:rPr lang="de-DE" dirty="0"/>
                        <a:t>2</a:t>
                      </a:r>
                    </a:p>
                  </a:txBody>
                  <a:tcPr anchor="ctr"/>
                </a:tc>
                <a:tc>
                  <a:txBody>
                    <a:bodyPr/>
                    <a:lstStyle/>
                    <a:p>
                      <a:pPr algn="ctr"/>
                      <a:r>
                        <a:rPr lang="de-DE" dirty="0" err="1"/>
                        <a:t>Idea</a:t>
                      </a:r>
                      <a:r>
                        <a:rPr lang="de-DE" dirty="0"/>
                        <a:t> 3</a:t>
                      </a:r>
                    </a:p>
                  </a:txBody>
                  <a:tcPr anchor="ctr"/>
                </a:tc>
                <a:extLst>
                  <a:ext uri="{0D108BD9-81ED-4DB2-BD59-A6C34878D82A}">
                    <a16:rowId xmlns:a16="http://schemas.microsoft.com/office/drawing/2014/main" val="2736322427"/>
                  </a:ext>
                </a:extLst>
              </a:tr>
              <a:tr h="1077893">
                <a:tc>
                  <a:txBody>
                    <a:bodyPr/>
                    <a:lstStyle/>
                    <a:p>
                      <a:pPr algn="ctr"/>
                      <a:r>
                        <a:rPr lang="de-DE" dirty="0"/>
                        <a:t>1</a:t>
                      </a:r>
                    </a:p>
                  </a:txBody>
                  <a:tcPr anchor="ctr"/>
                </a:tc>
                <a:tc>
                  <a:txBody>
                    <a:bodyPr/>
                    <a:lstStyle/>
                    <a:p>
                      <a:pPr algn="ctr"/>
                      <a:endParaRPr lang="de-DE"/>
                    </a:p>
                  </a:txBody>
                  <a:tcPr/>
                </a:tc>
                <a:tc>
                  <a:txBody>
                    <a:bodyPr/>
                    <a:lstStyle/>
                    <a:p>
                      <a:pPr algn="ctr"/>
                      <a:endParaRPr lang="de-DE"/>
                    </a:p>
                  </a:txBody>
                  <a:tcPr/>
                </a:tc>
                <a:tc>
                  <a:txBody>
                    <a:bodyPr/>
                    <a:lstStyle/>
                    <a:p>
                      <a:pPr algn="ctr"/>
                      <a:endParaRPr lang="de-DE"/>
                    </a:p>
                  </a:txBody>
                  <a:tcPr/>
                </a:tc>
                <a:extLst>
                  <a:ext uri="{0D108BD9-81ED-4DB2-BD59-A6C34878D82A}">
                    <a16:rowId xmlns:a16="http://schemas.microsoft.com/office/drawing/2014/main" val="2542053864"/>
                  </a:ext>
                </a:extLst>
              </a:tr>
              <a:tr h="1077893">
                <a:tc>
                  <a:txBody>
                    <a:bodyPr/>
                    <a:lstStyle/>
                    <a:p>
                      <a:pPr algn="ctr"/>
                      <a:r>
                        <a:rPr lang="de-DE"/>
                        <a:t>2</a:t>
                      </a:r>
                    </a:p>
                  </a:txBody>
                  <a:tcPr anchor="ctr"/>
                </a:tc>
                <a:tc>
                  <a:txBody>
                    <a:bodyPr/>
                    <a:lstStyle/>
                    <a:p>
                      <a:pPr algn="ctr"/>
                      <a:endParaRPr lang="de-DE"/>
                    </a:p>
                  </a:txBody>
                  <a:tcPr/>
                </a:tc>
                <a:tc>
                  <a:txBody>
                    <a:bodyPr/>
                    <a:lstStyle/>
                    <a:p>
                      <a:pPr algn="ctr"/>
                      <a:endParaRPr lang="de-DE"/>
                    </a:p>
                  </a:txBody>
                  <a:tcPr/>
                </a:tc>
                <a:tc>
                  <a:txBody>
                    <a:bodyPr/>
                    <a:lstStyle/>
                    <a:p>
                      <a:pPr algn="ctr"/>
                      <a:endParaRPr lang="de-DE"/>
                    </a:p>
                  </a:txBody>
                  <a:tcPr/>
                </a:tc>
                <a:extLst>
                  <a:ext uri="{0D108BD9-81ED-4DB2-BD59-A6C34878D82A}">
                    <a16:rowId xmlns:a16="http://schemas.microsoft.com/office/drawing/2014/main" val="3608409822"/>
                  </a:ext>
                </a:extLst>
              </a:tr>
              <a:tr h="1077893">
                <a:tc>
                  <a:txBody>
                    <a:bodyPr/>
                    <a:lstStyle/>
                    <a:p>
                      <a:pPr algn="ctr"/>
                      <a:r>
                        <a:rPr lang="de-DE"/>
                        <a:t>3</a:t>
                      </a:r>
                    </a:p>
                  </a:txBody>
                  <a:tcPr anchor="ctr"/>
                </a:tc>
                <a:tc>
                  <a:txBody>
                    <a:bodyPr/>
                    <a:lstStyle/>
                    <a:p>
                      <a:pPr algn="ctr"/>
                      <a:endParaRPr lang="de-DE"/>
                    </a:p>
                  </a:txBody>
                  <a:tcPr/>
                </a:tc>
                <a:tc>
                  <a:txBody>
                    <a:bodyPr/>
                    <a:lstStyle/>
                    <a:p>
                      <a:pPr algn="ctr"/>
                      <a:endParaRPr lang="de-DE"/>
                    </a:p>
                  </a:txBody>
                  <a:tcPr/>
                </a:tc>
                <a:tc>
                  <a:txBody>
                    <a:bodyPr/>
                    <a:lstStyle/>
                    <a:p>
                      <a:pPr algn="ctr"/>
                      <a:endParaRPr lang="de-DE"/>
                    </a:p>
                  </a:txBody>
                  <a:tcPr/>
                </a:tc>
                <a:extLst>
                  <a:ext uri="{0D108BD9-81ED-4DB2-BD59-A6C34878D82A}">
                    <a16:rowId xmlns:a16="http://schemas.microsoft.com/office/drawing/2014/main" val="3022821200"/>
                  </a:ext>
                </a:extLst>
              </a:tr>
              <a:tr h="1077893">
                <a:tc>
                  <a:txBody>
                    <a:bodyPr/>
                    <a:lstStyle/>
                    <a:p>
                      <a:pPr lvl="0" algn="ctr">
                        <a:buNone/>
                      </a:pPr>
                      <a:r>
                        <a:rPr lang="de-DE"/>
                        <a:t>4</a:t>
                      </a:r>
                    </a:p>
                  </a:txBody>
                  <a:tcPr anchor="ctr"/>
                </a:tc>
                <a:tc>
                  <a:txBody>
                    <a:bodyPr/>
                    <a:lstStyle/>
                    <a:p>
                      <a:pPr lvl="0" algn="ctr">
                        <a:buNone/>
                      </a:pPr>
                      <a:endParaRPr lang="de-DE"/>
                    </a:p>
                  </a:txBody>
                  <a:tcPr/>
                </a:tc>
                <a:tc>
                  <a:txBody>
                    <a:bodyPr/>
                    <a:lstStyle/>
                    <a:p>
                      <a:pPr lvl="0" algn="ctr">
                        <a:buNone/>
                      </a:pPr>
                      <a:endParaRPr lang="de-DE"/>
                    </a:p>
                  </a:txBody>
                  <a:tcPr/>
                </a:tc>
                <a:tc>
                  <a:txBody>
                    <a:bodyPr/>
                    <a:lstStyle/>
                    <a:p>
                      <a:pPr lvl="0" algn="ctr">
                        <a:buNone/>
                      </a:pPr>
                      <a:endParaRPr lang="de-DE" dirty="0"/>
                    </a:p>
                  </a:txBody>
                  <a:tcPr/>
                </a:tc>
                <a:extLst>
                  <a:ext uri="{0D108BD9-81ED-4DB2-BD59-A6C34878D82A}">
                    <a16:rowId xmlns:a16="http://schemas.microsoft.com/office/drawing/2014/main" val="3398082888"/>
                  </a:ext>
                </a:extLst>
              </a:tr>
            </a:tbl>
          </a:graphicData>
        </a:graphic>
      </p:graphicFrame>
    </p:spTree>
    <p:extLst>
      <p:ext uri="{BB962C8B-B14F-4D97-AF65-F5344CB8AC3E}">
        <p14:creationId xmlns:p14="http://schemas.microsoft.com/office/powerpoint/2010/main" val="33386432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g_Master">
  <a:themeElements>
    <a:clrScheme name="msg_Colors">
      <a:dk1>
        <a:sysClr val="windowText" lastClr="000000"/>
      </a:dk1>
      <a:lt1>
        <a:sysClr val="window" lastClr="FFFFFF"/>
      </a:lt1>
      <a:dk2>
        <a:srgbClr val="4A4A4A"/>
      </a:dk2>
      <a:lt2>
        <a:srgbClr val="ACACAC"/>
      </a:lt2>
      <a:accent1>
        <a:srgbClr val="A01441"/>
      </a:accent1>
      <a:accent2>
        <a:srgbClr val="139EAD"/>
      </a:accent2>
      <a:accent3>
        <a:srgbClr val="F5B510"/>
      </a:accent3>
      <a:accent4>
        <a:srgbClr val="70DC51"/>
      </a:accent4>
      <a:accent5>
        <a:srgbClr val="5866E3"/>
      </a:accent5>
      <a:accent6>
        <a:srgbClr val="D74B94"/>
      </a:accent6>
      <a:hlink>
        <a:srgbClr val="A01441"/>
      </a:hlink>
      <a:folHlink>
        <a:srgbClr val="A01441"/>
      </a:folHlink>
    </a:clrScheme>
    <a:fontScheme name="msg_Fonts_Aptos">
      <a:majorFont>
        <a:latin typeface="Aptos"/>
        <a:ea typeface=""/>
        <a:cs typeface=""/>
      </a:majorFont>
      <a:minorFont>
        <a:latin typeface="Apto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108000" tIns="72000" rIns="108000" bIns="72000" rtlCol="0" anchor="ctr"/>
      <a:lstStyle>
        <a:defPPr algn="ctr">
          <a:defRPr sz="1600" dirty="0" smtClean="0"/>
        </a:defPPr>
      </a:lstStyle>
      <a:style>
        <a:lnRef idx="2">
          <a:schemeClr val="accent1">
            <a:shade val="15000"/>
          </a:schemeClr>
        </a:lnRef>
        <a:fillRef idx="1">
          <a:schemeClr val="accent1"/>
        </a:fillRef>
        <a:effectRef idx="0">
          <a:schemeClr val="accent1"/>
        </a:effectRef>
        <a:fontRef idx="minor">
          <a:schemeClr val="lt1"/>
        </a:fontRef>
      </a:style>
    </a:spDef>
    <a:lnDef>
      <a:spPr>
        <a:ln w="9525">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600" dirty="0" err="1" smtClean="0"/>
        </a:defPPr>
      </a:lstStyle>
    </a:txDef>
  </a:objectDefaults>
  <a:extraClrSchemeLst/>
  <a:extLst>
    <a:ext uri="{05A4C25C-085E-4340-85A3-A5531E510DB2}">
      <thm15:themeFamily xmlns:thm15="http://schemas.microsoft.com/office/thememl/2012/main" name="msg_PPT_Master.pptx" id="{C83475F5-D6A3-4D41-85F5-B99C775542F2}" vid="{C43F23F9-0055-4EA5-BFC5-2F34A2EEC2B7}"/>
    </a:ext>
  </a:extLst>
</a:theme>
</file>

<file path=docMetadata/LabelInfo.xml><?xml version="1.0" encoding="utf-8"?>
<clbl:labelList xmlns:clbl="http://schemas.microsoft.com/office/2020/mipLabelMetadata">
  <clbl:label id="{6ecfacbe-31ad-493b-8038-696ca31d2afe}" enabled="1" method="Privileged" siteId="{763b2760-45c5-46d3-883e-29705bba49b7}" contentBits="0" removed="0"/>
</clbl:labelList>
</file>

<file path=docProps/app.xml><?xml version="1.0" encoding="utf-8"?>
<Properties xmlns="http://schemas.openxmlformats.org/officeDocument/2006/extended-properties" xmlns:vt="http://schemas.openxmlformats.org/officeDocument/2006/docPropsVTypes">
  <Template>PPT_Master-Template_msg_2020</Template>
  <TotalTime>0</TotalTime>
  <Words>88</Words>
  <Application>Microsoft Office PowerPoint</Application>
  <PresentationFormat>Benutzerdefiniert</PresentationFormat>
  <Paragraphs>20</Paragraphs>
  <Slides>2</Slides>
  <Notes>0</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2</vt:i4>
      </vt:variant>
    </vt:vector>
  </HeadingPairs>
  <TitlesOfParts>
    <vt:vector size="8" baseType="lpstr">
      <vt:lpstr>Aptos Light</vt:lpstr>
      <vt:lpstr>Arial</vt:lpstr>
      <vt:lpstr>Carnac Light</vt:lpstr>
      <vt:lpstr>Wingdings</vt:lpstr>
      <vt:lpstr>msg_Master</vt:lpstr>
      <vt:lpstr>think-cell Folie</vt:lpstr>
      <vt:lpstr>6-3-5 Methode (4-3-3)</vt:lpstr>
      <vt:lpstr>6-3-5 Method (4-3-3)</vt:lpstr>
    </vt:vector>
  </TitlesOfParts>
  <Company>ms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6-3-5 Method Template</dc:title>
  <dc:creator>Andrea Nutsi</dc:creator>
  <cp:lastModifiedBy>Andrea Nutsi</cp:lastModifiedBy>
  <cp:revision>2</cp:revision>
  <dcterms:created xsi:type="dcterms:W3CDTF">2024-09-30T11:07:52Z</dcterms:created>
  <dcterms:modified xsi:type="dcterms:W3CDTF">2024-09-30T11:17:14Z</dcterms:modified>
</cp:coreProperties>
</file>